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 id="2147484196" r:id="rId5"/>
    <p:sldMasterId id="2147484246" r:id="rId6"/>
  </p:sldMasterIdLst>
  <p:notesMasterIdLst>
    <p:notesMasterId r:id="rId48"/>
  </p:notesMasterIdLst>
  <p:handoutMasterIdLst>
    <p:handoutMasterId r:id="rId49"/>
  </p:handoutMasterIdLst>
  <p:sldIdLst>
    <p:sldId id="1135" r:id="rId7"/>
    <p:sldId id="1199" r:id="rId8"/>
    <p:sldId id="1195" r:id="rId9"/>
    <p:sldId id="1196" r:id="rId10"/>
    <p:sldId id="1197" r:id="rId11"/>
    <p:sldId id="1157" r:id="rId12"/>
    <p:sldId id="1159" r:id="rId13"/>
    <p:sldId id="1160" r:id="rId14"/>
    <p:sldId id="1161" r:id="rId15"/>
    <p:sldId id="1162" r:id="rId16"/>
    <p:sldId id="1163" r:id="rId17"/>
    <p:sldId id="1164" r:id="rId18"/>
    <p:sldId id="1185" r:id="rId19"/>
    <p:sldId id="1165" r:id="rId20"/>
    <p:sldId id="1166" r:id="rId21"/>
    <p:sldId id="1167" r:id="rId22"/>
    <p:sldId id="1169" r:id="rId23"/>
    <p:sldId id="1170" r:id="rId24"/>
    <p:sldId id="1171" r:id="rId25"/>
    <p:sldId id="1172" r:id="rId26"/>
    <p:sldId id="1173" r:id="rId27"/>
    <p:sldId id="1174" r:id="rId28"/>
    <p:sldId id="1175" r:id="rId29"/>
    <p:sldId id="1176" r:id="rId30"/>
    <p:sldId id="1177" r:id="rId31"/>
    <p:sldId id="1178" r:id="rId32"/>
    <p:sldId id="1179" r:id="rId33"/>
    <p:sldId id="1180" r:id="rId34"/>
    <p:sldId id="1181" r:id="rId35"/>
    <p:sldId id="1182" r:id="rId36"/>
    <p:sldId id="1183" r:id="rId37"/>
    <p:sldId id="1184" r:id="rId38"/>
    <p:sldId id="1192" r:id="rId39"/>
    <p:sldId id="1186" r:id="rId40"/>
    <p:sldId id="1187" r:id="rId41"/>
    <p:sldId id="1188" r:id="rId42"/>
    <p:sldId id="1200" r:id="rId43"/>
    <p:sldId id="1193" r:id="rId44"/>
    <p:sldId id="1150" r:id="rId45"/>
    <p:sldId id="1201" r:id="rId46"/>
    <p:sldId id="1076" r:id="rId47"/>
  </p:sldIdLst>
  <p:sldSz cx="12436475" cy="6994525"/>
  <p:notesSz cx="6858000" cy="9144000"/>
  <p:embeddedFontLst>
    <p:embeddedFont>
      <p:font typeface="Segoe Semibold" panose="020B0702040504020203" pitchFamily="34" charset="0"/>
      <p:bold r:id="rId50"/>
      <p:boldItalic r:id="rId51"/>
    </p:embeddedFont>
    <p:embeddedFont>
      <p:font typeface="Segoe" panose="020B0502040504020203" pitchFamily="34" charset="0"/>
      <p:regular r:id="rId52"/>
      <p:bold r:id="rId53"/>
      <p:italic r:id="rId54"/>
      <p:boldItalic r:id="rId55"/>
    </p:embeddedFont>
    <p:embeddedFont>
      <p:font typeface="Consolas" panose="020B0609020204030204" pitchFamily="49" charset="0"/>
      <p:regular r:id="rId56"/>
      <p:bold r:id="rId57"/>
      <p:italic r:id="rId58"/>
      <p:boldItalic r:id="rId59"/>
    </p:embeddedFont>
    <p:embeddedFont>
      <p:font typeface="Calibri" panose="020F0502020204030204" pitchFamily="34" charset="0"/>
      <p:regular r:id="rId60"/>
      <p:bold r:id="rId61"/>
      <p:italic r:id="rId62"/>
      <p:boldItalic r:id="rId63"/>
    </p:embeddedFont>
    <p:embeddedFont>
      <p:font typeface="Segoe Light" panose="020B0302040504020203" pitchFamily="34" charset="0"/>
      <p:regular r:id="rId64"/>
      <p:italic r:id="rId65"/>
    </p:embeddedFont>
    <p:embeddedFont>
      <p:font typeface="Segoe UI Light" panose="020B0502040204020203" pitchFamily="34" charset="0"/>
      <p:regular r:id="rId66"/>
      <p:italic r:id="rId67"/>
    </p:embeddedFont>
    <p:embeddedFont>
      <p:font typeface="Segoe UI" panose="020B0502040204020203" pitchFamily="34" charset="0"/>
      <p:regular r:id="rId68"/>
      <p:bold r:id="rId69"/>
      <p:italic r:id="rId70"/>
      <p:boldItalic r:id="rId71"/>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199"/>
            <p14:sldId id="1195"/>
            <p14:sldId id="1196"/>
            <p14:sldId id="1197"/>
            <p14:sldId id="1157"/>
            <p14:sldId id="1159"/>
            <p14:sldId id="1160"/>
            <p14:sldId id="1161"/>
            <p14:sldId id="1162"/>
            <p14:sldId id="1163"/>
            <p14:sldId id="1164"/>
            <p14:sldId id="1185"/>
            <p14:sldId id="1165"/>
            <p14:sldId id="1166"/>
            <p14:sldId id="1167"/>
            <p14:sldId id="1169"/>
            <p14:sldId id="1170"/>
            <p14:sldId id="1171"/>
            <p14:sldId id="1172"/>
            <p14:sldId id="1173"/>
            <p14:sldId id="1174"/>
            <p14:sldId id="1175"/>
            <p14:sldId id="1176"/>
            <p14:sldId id="1177"/>
            <p14:sldId id="1178"/>
            <p14:sldId id="1179"/>
            <p14:sldId id="1180"/>
            <p14:sldId id="1181"/>
            <p14:sldId id="1182"/>
            <p14:sldId id="1183"/>
            <p14:sldId id="1184"/>
            <p14:sldId id="1192"/>
            <p14:sldId id="1186"/>
            <p14:sldId id="1187"/>
            <p14:sldId id="1188"/>
            <p14:sldId id="1200"/>
          </p14:sldIdLst>
        </p14:section>
        <p14:section name="Special content" id="{6925D2A1-AD53-4951-AB34-79DFA02CD676}">
          <p14:sldIdLst>
            <p14:sldId id="1193"/>
            <p14:sldId id="1150"/>
            <p14:sldId id="1201"/>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32" autoAdjust="0"/>
    <p:restoredTop sz="84520" autoAdjust="0"/>
  </p:normalViewPr>
  <p:slideViewPr>
    <p:cSldViewPr snapToGrid="0">
      <p:cViewPr varScale="1">
        <p:scale>
          <a:sx n="94" d="100"/>
          <a:sy n="94" d="100"/>
        </p:scale>
        <p:origin x="1128" y="7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font" Target="fonts/font1.fntdata"/><Relationship Id="rId55" Type="http://schemas.openxmlformats.org/officeDocument/2006/relationships/font" Target="fonts/font6.fntdata"/><Relationship Id="rId63" Type="http://schemas.openxmlformats.org/officeDocument/2006/relationships/font" Target="fonts/font14.fntdata"/><Relationship Id="rId68" Type="http://schemas.openxmlformats.org/officeDocument/2006/relationships/font" Target="fonts/font19.fntdata"/><Relationship Id="rId76"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font" Target="fonts/font22.fntdata"/><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font" Target="fonts/font17.fntdata"/><Relationship Id="rId7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handoutMaster" Target="handoutMasters/handoutMaster1.xml"/><Relationship Id="rId57" Type="http://schemas.openxmlformats.org/officeDocument/2006/relationships/font" Target="fonts/font8.fntdata"/><Relationship Id="rId61" Type="http://schemas.openxmlformats.org/officeDocument/2006/relationships/font" Target="fonts/font12.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font" Target="fonts/font16.fntdata"/><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notesMaster" Target="notesMasters/notesMaster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font" Target="fonts/font20.fntdata"/><Relationship Id="rId8" Type="http://schemas.openxmlformats.org/officeDocument/2006/relationships/slide" Target="slides/slide2.xml"/><Relationship Id="rId51" Type="http://schemas.openxmlformats.org/officeDocument/2006/relationships/font" Target="fonts/font2.fntdata"/><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10.fntdata"/><Relationship Id="rId67" Type="http://schemas.openxmlformats.org/officeDocument/2006/relationships/font" Target="fonts/font18.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5.fntdata"/><Relationship Id="rId62" Type="http://schemas.openxmlformats.org/officeDocument/2006/relationships/font" Target="fonts/font13.fntdata"/><Relationship Id="rId70" Type="http://schemas.openxmlformats.org/officeDocument/2006/relationships/font" Target="fonts/font21.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8E21D6-15BF-45D0-A61A-462BF47CF192}"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7AEE2844-561C-4035-8518-8FACA3211D5C}">
      <dgm:prSet phldrT="[Text]" custT="1"/>
      <dgm:spPr>
        <a:xfrm>
          <a:off x="3080754" y="1754694"/>
          <a:ext cx="2033147" cy="1016573"/>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800" smtClean="0">
              <a:solidFill>
                <a:sysClr val="window" lastClr="FFFFFF"/>
              </a:solidFill>
              <a:latin typeface="Arial"/>
              <a:ea typeface="+mn-ea"/>
              <a:cs typeface="+mn-cs"/>
            </a:rPr>
            <a:t>Distribution </a:t>
          </a:r>
          <a:r>
            <a:rPr lang="en-US" sz="1800" dirty="0" smtClean="0">
              <a:solidFill>
                <a:sysClr val="window" lastClr="FFFFFF"/>
              </a:solidFill>
              <a:latin typeface="Arial"/>
              <a:ea typeface="+mn-ea"/>
              <a:cs typeface="+mn-cs"/>
            </a:rPr>
            <a:t>Point (Source) </a:t>
          </a:r>
          <a:endParaRPr lang="en-US" sz="1800" dirty="0">
            <a:solidFill>
              <a:sysClr val="window" lastClr="FFFFFF"/>
            </a:solidFill>
            <a:latin typeface="Arial"/>
            <a:ea typeface="+mn-ea"/>
            <a:cs typeface="+mn-cs"/>
          </a:endParaRPr>
        </a:p>
      </dgm:t>
    </dgm:pt>
    <dgm:pt modelId="{68E44330-E4B4-4807-A479-A355C5609346}" type="parTrans" cxnId="{759E43C2-EF20-4068-AB7C-753EF0F86171}">
      <dgm:prSet/>
      <dgm:spPr/>
      <dgm:t>
        <a:bodyPr/>
        <a:lstStyle/>
        <a:p>
          <a:endParaRPr lang="en-US"/>
        </a:p>
      </dgm:t>
    </dgm:pt>
    <dgm:pt modelId="{B829BEBD-E34D-4709-8D6C-B08475F5F25D}" type="sibTrans" cxnId="{759E43C2-EF20-4068-AB7C-753EF0F86171}">
      <dgm:prSet/>
      <dgm:spPr/>
      <dgm:t>
        <a:bodyPr/>
        <a:lstStyle/>
        <a:p>
          <a:endParaRPr lang="en-US"/>
        </a:p>
      </dgm:t>
    </dgm:pt>
    <dgm:pt modelId="{CCC44646-EEFC-49CE-834F-97FBC613FF6C}" type="asst">
      <dgm:prSet phldrT="[Text]" custT="1"/>
      <dgm:spPr>
        <a:xfrm>
          <a:off x="5907540" y="61377"/>
          <a:ext cx="2033147" cy="1016573"/>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800" dirty="0" smtClean="0">
              <a:solidFill>
                <a:sysClr val="window" lastClr="FFFFFF"/>
              </a:solidFill>
              <a:latin typeface="Arial"/>
              <a:ea typeface="+mn-ea"/>
              <a:cs typeface="+mn-cs"/>
            </a:rPr>
            <a:t>Pull Distribution Point </a:t>
          </a:r>
          <a:endParaRPr lang="en-US" sz="1800" dirty="0">
            <a:solidFill>
              <a:sysClr val="window" lastClr="FFFFFF"/>
            </a:solidFill>
            <a:latin typeface="Arial"/>
            <a:ea typeface="+mn-ea"/>
            <a:cs typeface="+mn-cs"/>
          </a:endParaRPr>
        </a:p>
      </dgm:t>
    </dgm:pt>
    <dgm:pt modelId="{030E1E9F-1CD4-4B56-80A8-CC2252F6052C}" type="parTrans" cxnId="{0944D495-C8B7-4F84-A143-5B77DF775B3F}">
      <dgm:prSet custT="1">
        <dgm:style>
          <a:lnRef idx="3">
            <a:schemeClr val="accent3"/>
          </a:lnRef>
          <a:fillRef idx="0">
            <a:schemeClr val="accent3"/>
          </a:fillRef>
          <a:effectRef idx="2">
            <a:schemeClr val="accent3"/>
          </a:effectRef>
          <a:fontRef idx="minor">
            <a:schemeClr val="tx1"/>
          </a:fontRef>
        </dgm:style>
      </dgm:prSet>
      <dgm:spPr>
        <a:xfrm rot="17706718">
          <a:off x="4575682" y="1396108"/>
          <a:ext cx="1870076" cy="40429"/>
        </a:xfrm>
        <a:noFill/>
        <a:ln w="50800" cap="flat" cmpd="sng" algn="ctr">
          <a:solidFill>
            <a:srgbClr val="9BBB59"/>
          </a:solidFill>
          <a:prstDash val="solid"/>
          <a:headEnd type="stealth" w="lg" len="lg"/>
          <a:tailEnd type="oval"/>
        </a:ln>
        <a:effectLst>
          <a:outerShdw blurRad="40000" dist="23000" dir="5400000" rotWithShape="0">
            <a:srgbClr val="000000">
              <a:alpha val="35000"/>
            </a:srgbClr>
          </a:outerShdw>
        </a:effectLst>
      </dgm:spPr>
      <dgm:t>
        <a:bodyPr/>
        <a:lstStyle/>
        <a:p>
          <a:endParaRPr lang="en-US" sz="500">
            <a:solidFill>
              <a:sysClr val="windowText" lastClr="000000">
                <a:hueOff val="0"/>
                <a:satOff val="0"/>
                <a:lumOff val="0"/>
                <a:alphaOff val="0"/>
              </a:sysClr>
            </a:solidFill>
            <a:latin typeface="Arial"/>
            <a:ea typeface="+mn-ea"/>
            <a:cs typeface="+mn-cs"/>
          </a:endParaRPr>
        </a:p>
      </dgm:t>
    </dgm:pt>
    <dgm:pt modelId="{A33818C1-4EA0-49DF-A61C-758558D9E477}" type="sibTrans" cxnId="{0944D495-C8B7-4F84-A143-5B77DF775B3F}">
      <dgm:prSet/>
      <dgm:spPr/>
      <dgm:t>
        <a:bodyPr/>
        <a:lstStyle/>
        <a:p>
          <a:endParaRPr lang="en-US"/>
        </a:p>
      </dgm:t>
    </dgm:pt>
    <dgm:pt modelId="{5F869490-4D9C-48A5-86F3-631F90DE219B}">
      <dgm:prSet phldrT="[Text]" custT="1"/>
      <dgm:spPr>
        <a:xfrm>
          <a:off x="6927855" y="1219204"/>
          <a:ext cx="2033147" cy="1016573"/>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800" dirty="0" smtClean="0">
              <a:solidFill>
                <a:sysClr val="window" lastClr="FFFFFF"/>
              </a:solidFill>
              <a:latin typeface="Arial"/>
              <a:ea typeface="+mn-ea"/>
              <a:cs typeface="+mn-cs"/>
            </a:rPr>
            <a:t>Pull Distribution Point </a:t>
          </a:r>
          <a:endParaRPr lang="en-US" sz="1800" dirty="0">
            <a:solidFill>
              <a:sysClr val="window" lastClr="FFFFFF"/>
            </a:solidFill>
            <a:latin typeface="Arial"/>
            <a:ea typeface="+mn-ea"/>
            <a:cs typeface="+mn-cs"/>
          </a:endParaRPr>
        </a:p>
      </dgm:t>
    </dgm:pt>
    <dgm:pt modelId="{9F504828-3828-46C0-A1EF-558A0F8EC5B6}" type="parTrans" cxnId="{719EE996-3DC1-4681-841E-77706D03419A}">
      <dgm:prSet custT="1"/>
      <dgm:spPr>
        <a:xfrm rot="20613184">
          <a:off x="5075206" y="1975021"/>
          <a:ext cx="1891343" cy="40429"/>
        </a:xfrm>
        <a:noFill/>
        <a:ln w="50800" cap="flat" cmpd="sng" algn="ctr">
          <a:solidFill>
            <a:srgbClr val="92D050"/>
          </a:solidFill>
          <a:prstDash val="solid"/>
          <a:headEnd type="stealth"/>
          <a:tailEnd type="oval"/>
        </a:ln>
        <a:effectLst/>
      </dgm:spPr>
      <dgm:t>
        <a:bodyPr/>
        <a:lstStyle/>
        <a:p>
          <a:endParaRPr lang="en-US" sz="300">
            <a:solidFill>
              <a:sysClr val="windowText" lastClr="000000">
                <a:hueOff val="0"/>
                <a:satOff val="0"/>
                <a:lumOff val="0"/>
                <a:alphaOff val="0"/>
              </a:sysClr>
            </a:solidFill>
            <a:latin typeface="Arial"/>
            <a:ea typeface="+mn-ea"/>
            <a:cs typeface="+mn-cs"/>
          </a:endParaRPr>
        </a:p>
      </dgm:t>
    </dgm:pt>
    <dgm:pt modelId="{9FE5763C-7BCF-4E03-B32B-5FBF3B3E5849}" type="sibTrans" cxnId="{719EE996-3DC1-4681-841E-77706D03419A}">
      <dgm:prSet/>
      <dgm:spPr/>
      <dgm:t>
        <a:bodyPr/>
        <a:lstStyle/>
        <a:p>
          <a:endParaRPr lang="en-US"/>
        </a:p>
      </dgm:t>
    </dgm:pt>
    <dgm:pt modelId="{60348777-7046-48F3-93C2-52AC2036748A}">
      <dgm:prSet phldrT="[Text]" custT="1"/>
      <dgm:spPr>
        <a:xfrm>
          <a:off x="6927855" y="2336225"/>
          <a:ext cx="2033147" cy="1016573"/>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800" dirty="0" smtClean="0">
              <a:solidFill>
                <a:sysClr val="window" lastClr="FFFFFF"/>
              </a:solidFill>
              <a:latin typeface="Arial"/>
              <a:ea typeface="+mn-ea"/>
              <a:cs typeface="+mn-cs"/>
            </a:rPr>
            <a:t>Pull Distribution Point </a:t>
          </a:r>
          <a:endParaRPr lang="en-US" sz="1800" dirty="0">
            <a:solidFill>
              <a:sysClr val="window" lastClr="FFFFFF"/>
            </a:solidFill>
            <a:latin typeface="Arial"/>
            <a:ea typeface="+mn-ea"/>
            <a:cs typeface="+mn-cs"/>
          </a:endParaRPr>
        </a:p>
      </dgm:t>
    </dgm:pt>
    <dgm:pt modelId="{1AE0C668-DAC7-47A5-808C-B8BAA1236277}" type="parTrans" cxnId="{0B1FD241-08AF-4FAE-AC45-5B0AC4DCD320}">
      <dgm:prSet custT="1"/>
      <dgm:spPr>
        <a:xfrm rot="1066512">
          <a:off x="5068433" y="2533532"/>
          <a:ext cx="1904890" cy="40429"/>
        </a:xfrm>
        <a:noFill/>
        <a:ln w="50800" cap="flat" cmpd="sng" algn="ctr">
          <a:solidFill>
            <a:srgbClr val="92D050"/>
          </a:solidFill>
          <a:prstDash val="solid"/>
          <a:headEnd type="stealth"/>
          <a:tailEnd type="oval"/>
        </a:ln>
        <a:effectLst/>
      </dgm:spPr>
      <dgm:t>
        <a:bodyPr/>
        <a:lstStyle/>
        <a:p>
          <a:endParaRPr lang="en-US" sz="300">
            <a:solidFill>
              <a:sysClr val="windowText" lastClr="000000">
                <a:hueOff val="0"/>
                <a:satOff val="0"/>
                <a:lumOff val="0"/>
                <a:alphaOff val="0"/>
              </a:sysClr>
            </a:solidFill>
            <a:latin typeface="Arial"/>
            <a:ea typeface="+mn-ea"/>
            <a:cs typeface="+mn-cs"/>
          </a:endParaRPr>
        </a:p>
      </dgm:t>
    </dgm:pt>
    <dgm:pt modelId="{FF8EF9D2-40A2-42EE-AE15-2BDBA4E14A29}" type="sibTrans" cxnId="{0B1FD241-08AF-4FAE-AC45-5B0AC4DCD320}">
      <dgm:prSet/>
      <dgm:spPr/>
      <dgm:t>
        <a:bodyPr/>
        <a:lstStyle/>
        <a:p>
          <a:endParaRPr lang="en-US"/>
        </a:p>
      </dgm:t>
    </dgm:pt>
    <dgm:pt modelId="{64D9A249-9130-4763-B769-A6E69A460842}">
      <dgm:prSet phldrT="[Text]" custT="1"/>
      <dgm:spPr>
        <a:xfrm>
          <a:off x="5927160" y="3508284"/>
          <a:ext cx="2033147" cy="1016573"/>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800" dirty="0" smtClean="0">
              <a:solidFill>
                <a:sysClr val="window" lastClr="FFFFFF"/>
              </a:solidFill>
              <a:latin typeface="Arial"/>
              <a:ea typeface="+mn-ea"/>
              <a:cs typeface="+mn-cs"/>
            </a:rPr>
            <a:t>Pull Distribution Point</a:t>
          </a:r>
          <a:endParaRPr lang="en-US" sz="1800" dirty="0">
            <a:solidFill>
              <a:sysClr val="window" lastClr="FFFFFF"/>
            </a:solidFill>
            <a:latin typeface="Arial"/>
            <a:ea typeface="+mn-ea"/>
            <a:cs typeface="+mn-cs"/>
          </a:endParaRPr>
        </a:p>
      </dgm:t>
    </dgm:pt>
    <dgm:pt modelId="{96A1B8E8-1336-40A6-8BC9-464CD5598692}" type="parTrans" cxnId="{DFEC0A4F-3DCB-4569-B0C2-06599DD068C0}">
      <dgm:prSet custT="1"/>
      <dgm:spPr>
        <a:xfrm rot="3907178">
          <a:off x="4554033" y="3119561"/>
          <a:ext cx="1932994" cy="40429"/>
        </a:xfrm>
        <a:noFill/>
        <a:ln w="50800" cap="flat" cmpd="sng" algn="ctr">
          <a:solidFill>
            <a:srgbClr val="92D050"/>
          </a:solidFill>
          <a:prstDash val="solid"/>
          <a:headEnd type="stealth"/>
          <a:tailEnd type="oval"/>
        </a:ln>
        <a:effectLst/>
      </dgm:spPr>
      <dgm:t>
        <a:bodyPr/>
        <a:lstStyle/>
        <a:p>
          <a:endParaRPr lang="en-US" sz="500">
            <a:solidFill>
              <a:sysClr val="windowText" lastClr="000000">
                <a:hueOff val="0"/>
                <a:satOff val="0"/>
                <a:lumOff val="0"/>
                <a:alphaOff val="0"/>
              </a:sysClr>
            </a:solidFill>
            <a:latin typeface="Arial"/>
            <a:ea typeface="+mn-ea"/>
            <a:cs typeface="+mn-cs"/>
          </a:endParaRPr>
        </a:p>
      </dgm:t>
    </dgm:pt>
    <dgm:pt modelId="{8951571B-0602-4022-9712-618FB7404FAD}" type="sibTrans" cxnId="{DFEC0A4F-3DCB-4569-B0C2-06599DD068C0}">
      <dgm:prSet/>
      <dgm:spPr/>
      <dgm:t>
        <a:bodyPr/>
        <a:lstStyle/>
        <a:p>
          <a:endParaRPr lang="en-US"/>
        </a:p>
      </dgm:t>
    </dgm:pt>
    <dgm:pt modelId="{36037BB0-9EF2-43B6-AB36-3778292044B7}">
      <dgm:prSet phldrT="[Text]" custT="1"/>
      <dgm:spPr>
        <a:xfrm>
          <a:off x="298452" y="1777709"/>
          <a:ext cx="2033147" cy="1016573"/>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800" dirty="0" smtClean="0">
              <a:solidFill>
                <a:sysClr val="window" lastClr="FFFFFF"/>
              </a:solidFill>
              <a:latin typeface="Arial"/>
              <a:ea typeface="+mn-ea"/>
              <a:cs typeface="+mn-cs"/>
            </a:rPr>
            <a:t>Site Server</a:t>
          </a:r>
          <a:endParaRPr lang="en-US" sz="1800" dirty="0">
            <a:solidFill>
              <a:sysClr val="window" lastClr="FFFFFF"/>
            </a:solidFill>
            <a:latin typeface="Arial"/>
            <a:ea typeface="+mn-ea"/>
            <a:cs typeface="+mn-cs"/>
          </a:endParaRPr>
        </a:p>
      </dgm:t>
    </dgm:pt>
    <dgm:pt modelId="{E6A97280-70E0-4AB4-9E20-082445093CE2}" type="parTrans" cxnId="{FC8723B7-8FB6-4A53-BEB8-2A7F7D9BB1F2}">
      <dgm:prSet/>
      <dgm:spPr/>
      <dgm:t>
        <a:bodyPr/>
        <a:lstStyle/>
        <a:p>
          <a:endParaRPr lang="en-US"/>
        </a:p>
      </dgm:t>
    </dgm:pt>
    <dgm:pt modelId="{EEFDB47C-EC83-4494-B483-139C8BC3775B}" type="sibTrans" cxnId="{FC8723B7-8FB6-4A53-BEB8-2A7F7D9BB1F2}">
      <dgm:prSet/>
      <dgm:spPr/>
      <dgm:t>
        <a:bodyPr/>
        <a:lstStyle/>
        <a:p>
          <a:endParaRPr lang="en-US"/>
        </a:p>
      </dgm:t>
    </dgm:pt>
    <dgm:pt modelId="{97F9B3D7-0A21-4DA3-A9FC-58C175E5696E}" type="pres">
      <dgm:prSet presAssocID="{938E21D6-15BF-45D0-A61A-462BF47CF192}" presName="diagram" presStyleCnt="0">
        <dgm:presLayoutVars>
          <dgm:chPref val="1"/>
          <dgm:dir/>
          <dgm:animOne val="branch"/>
          <dgm:animLvl val="lvl"/>
          <dgm:resizeHandles val="exact"/>
        </dgm:presLayoutVars>
      </dgm:prSet>
      <dgm:spPr/>
      <dgm:t>
        <a:bodyPr/>
        <a:lstStyle/>
        <a:p>
          <a:endParaRPr lang="en-US"/>
        </a:p>
      </dgm:t>
    </dgm:pt>
    <dgm:pt modelId="{985A361A-1AD7-4A7F-8624-3CB75613FBA5}" type="pres">
      <dgm:prSet presAssocID="{7AEE2844-561C-4035-8518-8FACA3211D5C}" presName="root1" presStyleCnt="0"/>
      <dgm:spPr/>
    </dgm:pt>
    <dgm:pt modelId="{A7E6B7A7-3522-4247-97FC-A88E50B7D1F7}" type="pres">
      <dgm:prSet presAssocID="{7AEE2844-561C-4035-8518-8FACA3211D5C}" presName="LevelOneTextNode" presStyleLbl="node0" presStyleIdx="0" presStyleCnt="2">
        <dgm:presLayoutVars>
          <dgm:chPref val="3"/>
        </dgm:presLayoutVars>
      </dgm:prSet>
      <dgm:spPr>
        <a:prstGeom prst="roundRect">
          <a:avLst>
            <a:gd name="adj" fmla="val 10000"/>
          </a:avLst>
        </a:prstGeom>
      </dgm:spPr>
      <dgm:t>
        <a:bodyPr/>
        <a:lstStyle/>
        <a:p>
          <a:endParaRPr lang="en-US"/>
        </a:p>
      </dgm:t>
    </dgm:pt>
    <dgm:pt modelId="{7F0EC1F6-CABA-4BA7-AAD5-33547614AB35}" type="pres">
      <dgm:prSet presAssocID="{7AEE2844-561C-4035-8518-8FACA3211D5C}" presName="level2hierChild" presStyleCnt="0"/>
      <dgm:spPr/>
    </dgm:pt>
    <dgm:pt modelId="{4F7CDED6-D48E-4F9D-866C-DFE8DE0643FE}" type="pres">
      <dgm:prSet presAssocID="{030E1E9F-1CD4-4B56-80A8-CC2252F6052C}" presName="conn2-1" presStyleLbl="parChTrans1D2" presStyleIdx="0" presStyleCnt="4"/>
      <dgm:spPr>
        <a:custGeom>
          <a:avLst/>
          <a:gdLst/>
          <a:ahLst/>
          <a:cxnLst/>
          <a:rect l="0" t="0" r="0" b="0"/>
          <a:pathLst>
            <a:path>
              <a:moveTo>
                <a:pt x="0" y="20214"/>
              </a:moveTo>
              <a:lnTo>
                <a:pt x="1870076" y="20214"/>
              </a:lnTo>
            </a:path>
          </a:pathLst>
        </a:custGeom>
      </dgm:spPr>
      <dgm:t>
        <a:bodyPr/>
        <a:lstStyle/>
        <a:p>
          <a:endParaRPr lang="en-US"/>
        </a:p>
      </dgm:t>
    </dgm:pt>
    <dgm:pt modelId="{B59E1C5D-C002-4923-9CEB-C2C85EBE4EC9}" type="pres">
      <dgm:prSet presAssocID="{030E1E9F-1CD4-4B56-80A8-CC2252F6052C}" presName="connTx" presStyleLbl="parChTrans1D2" presStyleIdx="0" presStyleCnt="4"/>
      <dgm:spPr/>
      <dgm:t>
        <a:bodyPr/>
        <a:lstStyle/>
        <a:p>
          <a:endParaRPr lang="en-US"/>
        </a:p>
      </dgm:t>
    </dgm:pt>
    <dgm:pt modelId="{10D8C386-0834-4AD8-8EF2-04D0C2109ED9}" type="pres">
      <dgm:prSet presAssocID="{CCC44646-EEFC-49CE-834F-97FBC613FF6C}" presName="root2" presStyleCnt="0"/>
      <dgm:spPr/>
    </dgm:pt>
    <dgm:pt modelId="{03569C50-C65D-4A64-957B-335B079FA8B9}" type="pres">
      <dgm:prSet presAssocID="{CCC44646-EEFC-49CE-834F-97FBC613FF6C}" presName="LevelTwoTextNode" presStyleLbl="asst1" presStyleIdx="0" presStyleCnt="1" custLinFactNeighborX="-965" custLinFactNeighborY="5929">
        <dgm:presLayoutVars>
          <dgm:chPref val="3"/>
        </dgm:presLayoutVars>
      </dgm:prSet>
      <dgm:spPr>
        <a:prstGeom prst="roundRect">
          <a:avLst>
            <a:gd name="adj" fmla="val 10000"/>
          </a:avLst>
        </a:prstGeom>
      </dgm:spPr>
      <dgm:t>
        <a:bodyPr/>
        <a:lstStyle/>
        <a:p>
          <a:endParaRPr lang="en-US"/>
        </a:p>
      </dgm:t>
    </dgm:pt>
    <dgm:pt modelId="{71F7EE6E-A6C6-486E-BF4C-97C740505A79}" type="pres">
      <dgm:prSet presAssocID="{CCC44646-EEFC-49CE-834F-97FBC613FF6C}" presName="level3hierChild" presStyleCnt="0"/>
      <dgm:spPr/>
    </dgm:pt>
    <dgm:pt modelId="{09C8EA69-122A-4EBA-BBE0-CD99F6B23AF7}" type="pres">
      <dgm:prSet presAssocID="{9F504828-3828-46C0-A1EF-558A0F8EC5B6}" presName="conn2-1" presStyleLbl="parChTrans1D2" presStyleIdx="1" presStyleCnt="4"/>
      <dgm:spPr>
        <a:custGeom>
          <a:avLst/>
          <a:gdLst/>
          <a:ahLst/>
          <a:cxnLst/>
          <a:rect l="0" t="0" r="0" b="0"/>
          <a:pathLst>
            <a:path>
              <a:moveTo>
                <a:pt x="0" y="20214"/>
              </a:moveTo>
              <a:lnTo>
                <a:pt x="1891343" y="20214"/>
              </a:lnTo>
            </a:path>
          </a:pathLst>
        </a:custGeom>
      </dgm:spPr>
      <dgm:t>
        <a:bodyPr/>
        <a:lstStyle/>
        <a:p>
          <a:endParaRPr lang="en-US"/>
        </a:p>
      </dgm:t>
    </dgm:pt>
    <dgm:pt modelId="{1F2961AA-4341-497A-B992-EA33ABD919B1}" type="pres">
      <dgm:prSet presAssocID="{9F504828-3828-46C0-A1EF-558A0F8EC5B6}" presName="connTx" presStyleLbl="parChTrans1D2" presStyleIdx="1" presStyleCnt="4"/>
      <dgm:spPr/>
      <dgm:t>
        <a:bodyPr/>
        <a:lstStyle/>
        <a:p>
          <a:endParaRPr lang="en-US"/>
        </a:p>
      </dgm:t>
    </dgm:pt>
    <dgm:pt modelId="{4DE898A7-0A90-428F-9257-E06EEC05F9B7}" type="pres">
      <dgm:prSet presAssocID="{5F869490-4D9C-48A5-86F3-631F90DE219B}" presName="root2" presStyleCnt="0"/>
      <dgm:spPr/>
    </dgm:pt>
    <dgm:pt modelId="{97E70737-4B32-4250-AC8E-D0BA68324643}" type="pres">
      <dgm:prSet presAssocID="{5F869490-4D9C-48A5-86F3-631F90DE219B}" presName="LevelTwoTextNode" presStyleLbl="node2" presStyleIdx="0" presStyleCnt="3" custLinFactNeighborX="49219" custLinFactNeighborY="4824">
        <dgm:presLayoutVars>
          <dgm:chPref val="3"/>
        </dgm:presLayoutVars>
      </dgm:prSet>
      <dgm:spPr>
        <a:prstGeom prst="roundRect">
          <a:avLst>
            <a:gd name="adj" fmla="val 10000"/>
          </a:avLst>
        </a:prstGeom>
      </dgm:spPr>
      <dgm:t>
        <a:bodyPr/>
        <a:lstStyle/>
        <a:p>
          <a:endParaRPr lang="en-US"/>
        </a:p>
      </dgm:t>
    </dgm:pt>
    <dgm:pt modelId="{2952DF0F-7C31-4AB4-92B2-0D8299CA03BC}" type="pres">
      <dgm:prSet presAssocID="{5F869490-4D9C-48A5-86F3-631F90DE219B}" presName="level3hierChild" presStyleCnt="0"/>
      <dgm:spPr/>
    </dgm:pt>
    <dgm:pt modelId="{BEE584C4-26DF-45A7-A8AB-20A8D5C70305}" type="pres">
      <dgm:prSet presAssocID="{1AE0C668-DAC7-47A5-808C-B8BAA1236277}" presName="conn2-1" presStyleLbl="parChTrans1D2" presStyleIdx="2" presStyleCnt="4"/>
      <dgm:spPr>
        <a:custGeom>
          <a:avLst/>
          <a:gdLst/>
          <a:ahLst/>
          <a:cxnLst/>
          <a:rect l="0" t="0" r="0" b="0"/>
          <a:pathLst>
            <a:path>
              <a:moveTo>
                <a:pt x="0" y="20214"/>
              </a:moveTo>
              <a:lnTo>
                <a:pt x="1904890" y="20214"/>
              </a:lnTo>
            </a:path>
          </a:pathLst>
        </a:custGeom>
      </dgm:spPr>
      <dgm:t>
        <a:bodyPr/>
        <a:lstStyle/>
        <a:p>
          <a:endParaRPr lang="en-US"/>
        </a:p>
      </dgm:t>
    </dgm:pt>
    <dgm:pt modelId="{ECE702C6-E7DA-4248-ACB4-6299D0C44561}" type="pres">
      <dgm:prSet presAssocID="{1AE0C668-DAC7-47A5-808C-B8BAA1236277}" presName="connTx" presStyleLbl="parChTrans1D2" presStyleIdx="2" presStyleCnt="4"/>
      <dgm:spPr/>
      <dgm:t>
        <a:bodyPr/>
        <a:lstStyle/>
        <a:p>
          <a:endParaRPr lang="en-US"/>
        </a:p>
      </dgm:t>
    </dgm:pt>
    <dgm:pt modelId="{29230464-4455-48CB-A8F2-8015A5D53879}" type="pres">
      <dgm:prSet presAssocID="{60348777-7046-48F3-93C2-52AC2036748A}" presName="root2" presStyleCnt="0"/>
      <dgm:spPr/>
    </dgm:pt>
    <dgm:pt modelId="{77A078FC-9177-4C5C-905A-F1E197CE443F}" type="pres">
      <dgm:prSet presAssocID="{60348777-7046-48F3-93C2-52AC2036748A}" presName="LevelTwoTextNode" presStyleLbl="node2" presStyleIdx="1" presStyleCnt="3" custLinFactNeighborX="49219" custLinFactNeighborY="-295">
        <dgm:presLayoutVars>
          <dgm:chPref val="3"/>
        </dgm:presLayoutVars>
      </dgm:prSet>
      <dgm:spPr>
        <a:prstGeom prst="roundRect">
          <a:avLst>
            <a:gd name="adj" fmla="val 10000"/>
          </a:avLst>
        </a:prstGeom>
      </dgm:spPr>
      <dgm:t>
        <a:bodyPr/>
        <a:lstStyle/>
        <a:p>
          <a:endParaRPr lang="en-US"/>
        </a:p>
      </dgm:t>
    </dgm:pt>
    <dgm:pt modelId="{EF2149FF-D8CE-433A-A11F-449EB763AB2D}" type="pres">
      <dgm:prSet presAssocID="{60348777-7046-48F3-93C2-52AC2036748A}" presName="level3hierChild" presStyleCnt="0"/>
      <dgm:spPr/>
    </dgm:pt>
    <dgm:pt modelId="{2E43E2A7-5826-4A04-A038-2E5BE6BC21EE}" type="pres">
      <dgm:prSet presAssocID="{96A1B8E8-1336-40A6-8BC9-464CD5598692}" presName="conn2-1" presStyleLbl="parChTrans1D2" presStyleIdx="3" presStyleCnt="4"/>
      <dgm:spPr>
        <a:custGeom>
          <a:avLst/>
          <a:gdLst/>
          <a:ahLst/>
          <a:cxnLst/>
          <a:rect l="0" t="0" r="0" b="0"/>
          <a:pathLst>
            <a:path>
              <a:moveTo>
                <a:pt x="0" y="20214"/>
              </a:moveTo>
              <a:lnTo>
                <a:pt x="1932994" y="20214"/>
              </a:lnTo>
            </a:path>
          </a:pathLst>
        </a:custGeom>
      </dgm:spPr>
      <dgm:t>
        <a:bodyPr/>
        <a:lstStyle/>
        <a:p>
          <a:endParaRPr lang="en-US"/>
        </a:p>
      </dgm:t>
    </dgm:pt>
    <dgm:pt modelId="{57AFB856-53BF-49EF-BB91-54165219F660}" type="pres">
      <dgm:prSet presAssocID="{96A1B8E8-1336-40A6-8BC9-464CD5598692}" presName="connTx" presStyleLbl="parChTrans1D2" presStyleIdx="3" presStyleCnt="4"/>
      <dgm:spPr/>
      <dgm:t>
        <a:bodyPr/>
        <a:lstStyle/>
        <a:p>
          <a:endParaRPr lang="en-US"/>
        </a:p>
      </dgm:t>
    </dgm:pt>
    <dgm:pt modelId="{9627379F-0CD0-4BAD-915E-718605FB58AB}" type="pres">
      <dgm:prSet presAssocID="{64D9A249-9130-4763-B769-A6E69A460842}" presName="root2" presStyleCnt="0"/>
      <dgm:spPr/>
    </dgm:pt>
    <dgm:pt modelId="{A42D7762-5C05-4058-89E2-AECF8C43C021}" type="pres">
      <dgm:prSet presAssocID="{64D9A249-9130-4763-B769-A6E69A460842}" presName="LevelTwoTextNode" presStyleLbl="node2" presStyleIdx="2" presStyleCnt="3">
        <dgm:presLayoutVars>
          <dgm:chPref val="3"/>
        </dgm:presLayoutVars>
      </dgm:prSet>
      <dgm:spPr>
        <a:prstGeom prst="roundRect">
          <a:avLst>
            <a:gd name="adj" fmla="val 10000"/>
          </a:avLst>
        </a:prstGeom>
      </dgm:spPr>
      <dgm:t>
        <a:bodyPr/>
        <a:lstStyle/>
        <a:p>
          <a:endParaRPr lang="en-US"/>
        </a:p>
      </dgm:t>
    </dgm:pt>
    <dgm:pt modelId="{83564DBD-C48E-476F-9850-543E17BDD3DD}" type="pres">
      <dgm:prSet presAssocID="{64D9A249-9130-4763-B769-A6E69A460842}" presName="level3hierChild" presStyleCnt="0"/>
      <dgm:spPr/>
    </dgm:pt>
    <dgm:pt modelId="{811F587B-953A-474D-AF01-8F2D70B363B1}" type="pres">
      <dgm:prSet presAssocID="{36037BB0-9EF2-43B6-AB36-3778292044B7}" presName="root1" presStyleCnt="0"/>
      <dgm:spPr/>
    </dgm:pt>
    <dgm:pt modelId="{9F310061-E9D3-4FE2-9D43-43AC2699375B}" type="pres">
      <dgm:prSet presAssocID="{36037BB0-9EF2-43B6-AB36-3778292044B7}" presName="LevelOneTextNode" presStyleLbl="node0" presStyleIdx="1" presStyleCnt="2" custLinFactX="-36847" custLinFactY="-12736" custLinFactNeighborX="-100000" custLinFactNeighborY="-100000">
        <dgm:presLayoutVars>
          <dgm:chPref val="3"/>
        </dgm:presLayoutVars>
      </dgm:prSet>
      <dgm:spPr>
        <a:prstGeom prst="roundRect">
          <a:avLst>
            <a:gd name="adj" fmla="val 10000"/>
          </a:avLst>
        </a:prstGeom>
      </dgm:spPr>
      <dgm:t>
        <a:bodyPr/>
        <a:lstStyle/>
        <a:p>
          <a:endParaRPr lang="en-US"/>
        </a:p>
      </dgm:t>
    </dgm:pt>
    <dgm:pt modelId="{9728EC18-3241-4149-AA04-642797FDCB93}" type="pres">
      <dgm:prSet presAssocID="{36037BB0-9EF2-43B6-AB36-3778292044B7}" presName="level2hierChild" presStyleCnt="0"/>
      <dgm:spPr/>
    </dgm:pt>
  </dgm:ptLst>
  <dgm:cxnLst>
    <dgm:cxn modelId="{939A03B9-7C0E-4CA5-B0B5-1B3D7EDF933C}" type="presOf" srcId="{1AE0C668-DAC7-47A5-808C-B8BAA1236277}" destId="{ECE702C6-E7DA-4248-ACB4-6299D0C44561}" srcOrd="1" destOrd="0" presId="urn:microsoft.com/office/officeart/2005/8/layout/hierarchy2"/>
    <dgm:cxn modelId="{400A1389-BDA3-49CB-8F00-7539117B3C52}" type="presOf" srcId="{64D9A249-9130-4763-B769-A6E69A460842}" destId="{A42D7762-5C05-4058-89E2-AECF8C43C021}" srcOrd="0" destOrd="0" presId="urn:microsoft.com/office/officeart/2005/8/layout/hierarchy2"/>
    <dgm:cxn modelId="{719EE996-3DC1-4681-841E-77706D03419A}" srcId="{7AEE2844-561C-4035-8518-8FACA3211D5C}" destId="{5F869490-4D9C-48A5-86F3-631F90DE219B}" srcOrd="1" destOrd="0" parTransId="{9F504828-3828-46C0-A1EF-558A0F8EC5B6}" sibTransId="{9FE5763C-7BCF-4E03-B32B-5FBF3B3E5849}"/>
    <dgm:cxn modelId="{F38207D5-7DC6-434C-9B0E-0D45F9E196FE}" type="presOf" srcId="{938E21D6-15BF-45D0-A61A-462BF47CF192}" destId="{97F9B3D7-0A21-4DA3-A9FC-58C175E5696E}" srcOrd="0" destOrd="0" presId="urn:microsoft.com/office/officeart/2005/8/layout/hierarchy2"/>
    <dgm:cxn modelId="{EEB9D049-2E03-4A46-B523-6EF84FE380FE}" type="presOf" srcId="{7AEE2844-561C-4035-8518-8FACA3211D5C}" destId="{A7E6B7A7-3522-4247-97FC-A88E50B7D1F7}" srcOrd="0" destOrd="0" presId="urn:microsoft.com/office/officeart/2005/8/layout/hierarchy2"/>
    <dgm:cxn modelId="{DFEC0A4F-3DCB-4569-B0C2-06599DD068C0}" srcId="{7AEE2844-561C-4035-8518-8FACA3211D5C}" destId="{64D9A249-9130-4763-B769-A6E69A460842}" srcOrd="3" destOrd="0" parTransId="{96A1B8E8-1336-40A6-8BC9-464CD5598692}" sibTransId="{8951571B-0602-4022-9712-618FB7404FAD}"/>
    <dgm:cxn modelId="{FC8723B7-8FB6-4A53-BEB8-2A7F7D9BB1F2}" srcId="{938E21D6-15BF-45D0-A61A-462BF47CF192}" destId="{36037BB0-9EF2-43B6-AB36-3778292044B7}" srcOrd="1" destOrd="0" parTransId="{E6A97280-70E0-4AB4-9E20-082445093CE2}" sibTransId="{EEFDB47C-EC83-4494-B483-139C8BC3775B}"/>
    <dgm:cxn modelId="{40A4D598-B77D-4406-9CD7-D9FE4568DACE}" type="presOf" srcId="{1AE0C668-DAC7-47A5-808C-B8BAA1236277}" destId="{BEE584C4-26DF-45A7-A8AB-20A8D5C70305}" srcOrd="0" destOrd="0" presId="urn:microsoft.com/office/officeart/2005/8/layout/hierarchy2"/>
    <dgm:cxn modelId="{3DF092D4-FF5F-4099-B42E-BC6F35B3FD33}" type="presOf" srcId="{96A1B8E8-1336-40A6-8BC9-464CD5598692}" destId="{2E43E2A7-5826-4A04-A038-2E5BE6BC21EE}" srcOrd="0" destOrd="0" presId="urn:microsoft.com/office/officeart/2005/8/layout/hierarchy2"/>
    <dgm:cxn modelId="{0B1FD241-08AF-4FAE-AC45-5B0AC4DCD320}" srcId="{7AEE2844-561C-4035-8518-8FACA3211D5C}" destId="{60348777-7046-48F3-93C2-52AC2036748A}" srcOrd="2" destOrd="0" parTransId="{1AE0C668-DAC7-47A5-808C-B8BAA1236277}" sibTransId="{FF8EF9D2-40A2-42EE-AE15-2BDBA4E14A29}"/>
    <dgm:cxn modelId="{42A938AC-AFE6-4609-A7CA-3B181754D917}" type="presOf" srcId="{96A1B8E8-1336-40A6-8BC9-464CD5598692}" destId="{57AFB856-53BF-49EF-BB91-54165219F660}" srcOrd="1" destOrd="0" presId="urn:microsoft.com/office/officeart/2005/8/layout/hierarchy2"/>
    <dgm:cxn modelId="{E8620F2F-1CB8-4755-8601-2F5A72BCFBD9}" type="presOf" srcId="{36037BB0-9EF2-43B6-AB36-3778292044B7}" destId="{9F310061-E9D3-4FE2-9D43-43AC2699375B}" srcOrd="0" destOrd="0" presId="urn:microsoft.com/office/officeart/2005/8/layout/hierarchy2"/>
    <dgm:cxn modelId="{EE3A41EA-EABA-4014-98C9-C39C8D46EB7B}" type="presOf" srcId="{9F504828-3828-46C0-A1EF-558A0F8EC5B6}" destId="{09C8EA69-122A-4EBA-BBE0-CD99F6B23AF7}" srcOrd="0" destOrd="0" presId="urn:microsoft.com/office/officeart/2005/8/layout/hierarchy2"/>
    <dgm:cxn modelId="{E5DE0505-913F-438D-9418-23B0B6B0C097}" type="presOf" srcId="{5F869490-4D9C-48A5-86F3-631F90DE219B}" destId="{97E70737-4B32-4250-AC8E-D0BA68324643}" srcOrd="0" destOrd="0" presId="urn:microsoft.com/office/officeart/2005/8/layout/hierarchy2"/>
    <dgm:cxn modelId="{759E43C2-EF20-4068-AB7C-753EF0F86171}" srcId="{938E21D6-15BF-45D0-A61A-462BF47CF192}" destId="{7AEE2844-561C-4035-8518-8FACA3211D5C}" srcOrd="0" destOrd="0" parTransId="{68E44330-E4B4-4807-A479-A355C5609346}" sibTransId="{B829BEBD-E34D-4709-8D6C-B08475F5F25D}"/>
    <dgm:cxn modelId="{04C76D47-C734-40EF-BE0B-43AF3CC2B05D}" type="presOf" srcId="{60348777-7046-48F3-93C2-52AC2036748A}" destId="{77A078FC-9177-4C5C-905A-F1E197CE443F}" srcOrd="0" destOrd="0" presId="urn:microsoft.com/office/officeart/2005/8/layout/hierarchy2"/>
    <dgm:cxn modelId="{0944D495-C8B7-4F84-A143-5B77DF775B3F}" srcId="{7AEE2844-561C-4035-8518-8FACA3211D5C}" destId="{CCC44646-EEFC-49CE-834F-97FBC613FF6C}" srcOrd="0" destOrd="0" parTransId="{030E1E9F-1CD4-4B56-80A8-CC2252F6052C}" sibTransId="{A33818C1-4EA0-49DF-A61C-758558D9E477}"/>
    <dgm:cxn modelId="{A3100C7A-CA6E-4731-82CA-FBB6AA3A97DB}" type="presOf" srcId="{030E1E9F-1CD4-4B56-80A8-CC2252F6052C}" destId="{4F7CDED6-D48E-4F9D-866C-DFE8DE0643FE}" srcOrd="0" destOrd="0" presId="urn:microsoft.com/office/officeart/2005/8/layout/hierarchy2"/>
    <dgm:cxn modelId="{D570FF30-67B7-4E0A-A87E-5338E0896B19}" type="presOf" srcId="{CCC44646-EEFC-49CE-834F-97FBC613FF6C}" destId="{03569C50-C65D-4A64-957B-335B079FA8B9}" srcOrd="0" destOrd="0" presId="urn:microsoft.com/office/officeart/2005/8/layout/hierarchy2"/>
    <dgm:cxn modelId="{813B4172-1958-4E5F-BC32-E9AD7F0EC1F6}" type="presOf" srcId="{030E1E9F-1CD4-4B56-80A8-CC2252F6052C}" destId="{B59E1C5D-C002-4923-9CEB-C2C85EBE4EC9}" srcOrd="1" destOrd="0" presId="urn:microsoft.com/office/officeart/2005/8/layout/hierarchy2"/>
    <dgm:cxn modelId="{B468B4B0-BCA3-4840-AFDF-502C11895E86}" type="presOf" srcId="{9F504828-3828-46C0-A1EF-558A0F8EC5B6}" destId="{1F2961AA-4341-497A-B992-EA33ABD919B1}" srcOrd="1" destOrd="0" presId="urn:microsoft.com/office/officeart/2005/8/layout/hierarchy2"/>
    <dgm:cxn modelId="{C50EA609-EE6C-426C-B11F-03C3BA75B3E0}" type="presParOf" srcId="{97F9B3D7-0A21-4DA3-A9FC-58C175E5696E}" destId="{985A361A-1AD7-4A7F-8624-3CB75613FBA5}" srcOrd="0" destOrd="0" presId="urn:microsoft.com/office/officeart/2005/8/layout/hierarchy2"/>
    <dgm:cxn modelId="{53DF40F4-BFDD-459B-95F0-805AF04F7DA3}" type="presParOf" srcId="{985A361A-1AD7-4A7F-8624-3CB75613FBA5}" destId="{A7E6B7A7-3522-4247-97FC-A88E50B7D1F7}" srcOrd="0" destOrd="0" presId="urn:microsoft.com/office/officeart/2005/8/layout/hierarchy2"/>
    <dgm:cxn modelId="{15127CD3-AFE5-4795-AA7C-68ADB633D340}" type="presParOf" srcId="{985A361A-1AD7-4A7F-8624-3CB75613FBA5}" destId="{7F0EC1F6-CABA-4BA7-AAD5-33547614AB35}" srcOrd="1" destOrd="0" presId="urn:microsoft.com/office/officeart/2005/8/layout/hierarchy2"/>
    <dgm:cxn modelId="{BBDD86D0-7FF0-4C8F-8D0C-DD2AB52C52BB}" type="presParOf" srcId="{7F0EC1F6-CABA-4BA7-AAD5-33547614AB35}" destId="{4F7CDED6-D48E-4F9D-866C-DFE8DE0643FE}" srcOrd="0" destOrd="0" presId="urn:microsoft.com/office/officeart/2005/8/layout/hierarchy2"/>
    <dgm:cxn modelId="{126BF2B4-6897-4E70-B73A-E96A072854DB}" type="presParOf" srcId="{4F7CDED6-D48E-4F9D-866C-DFE8DE0643FE}" destId="{B59E1C5D-C002-4923-9CEB-C2C85EBE4EC9}" srcOrd="0" destOrd="0" presId="urn:microsoft.com/office/officeart/2005/8/layout/hierarchy2"/>
    <dgm:cxn modelId="{5D7C9AB7-0A92-4DA7-BDC6-C7A5198FA9B1}" type="presParOf" srcId="{7F0EC1F6-CABA-4BA7-AAD5-33547614AB35}" destId="{10D8C386-0834-4AD8-8EF2-04D0C2109ED9}" srcOrd="1" destOrd="0" presId="urn:microsoft.com/office/officeart/2005/8/layout/hierarchy2"/>
    <dgm:cxn modelId="{93E20CF0-2CC2-47E8-A4A9-C48905B2724D}" type="presParOf" srcId="{10D8C386-0834-4AD8-8EF2-04D0C2109ED9}" destId="{03569C50-C65D-4A64-957B-335B079FA8B9}" srcOrd="0" destOrd="0" presId="urn:microsoft.com/office/officeart/2005/8/layout/hierarchy2"/>
    <dgm:cxn modelId="{62252537-277E-4148-A127-1E984C0D5205}" type="presParOf" srcId="{10D8C386-0834-4AD8-8EF2-04D0C2109ED9}" destId="{71F7EE6E-A6C6-486E-BF4C-97C740505A79}" srcOrd="1" destOrd="0" presId="urn:microsoft.com/office/officeart/2005/8/layout/hierarchy2"/>
    <dgm:cxn modelId="{5AD1F824-6B6F-449F-87A9-D2E1BC3D8263}" type="presParOf" srcId="{7F0EC1F6-CABA-4BA7-AAD5-33547614AB35}" destId="{09C8EA69-122A-4EBA-BBE0-CD99F6B23AF7}" srcOrd="2" destOrd="0" presId="urn:microsoft.com/office/officeart/2005/8/layout/hierarchy2"/>
    <dgm:cxn modelId="{76FC0294-B0A0-4060-979A-D7EE39286023}" type="presParOf" srcId="{09C8EA69-122A-4EBA-BBE0-CD99F6B23AF7}" destId="{1F2961AA-4341-497A-B992-EA33ABD919B1}" srcOrd="0" destOrd="0" presId="urn:microsoft.com/office/officeart/2005/8/layout/hierarchy2"/>
    <dgm:cxn modelId="{B511A70F-0F2F-4902-A81F-63AF3A6B7E1C}" type="presParOf" srcId="{7F0EC1F6-CABA-4BA7-AAD5-33547614AB35}" destId="{4DE898A7-0A90-428F-9257-E06EEC05F9B7}" srcOrd="3" destOrd="0" presId="urn:microsoft.com/office/officeart/2005/8/layout/hierarchy2"/>
    <dgm:cxn modelId="{56C12410-9386-498C-8A7F-C63339129A8A}" type="presParOf" srcId="{4DE898A7-0A90-428F-9257-E06EEC05F9B7}" destId="{97E70737-4B32-4250-AC8E-D0BA68324643}" srcOrd="0" destOrd="0" presId="urn:microsoft.com/office/officeart/2005/8/layout/hierarchy2"/>
    <dgm:cxn modelId="{5BAA83C2-7767-4198-A6FC-4FDF16549E8E}" type="presParOf" srcId="{4DE898A7-0A90-428F-9257-E06EEC05F9B7}" destId="{2952DF0F-7C31-4AB4-92B2-0D8299CA03BC}" srcOrd="1" destOrd="0" presId="urn:microsoft.com/office/officeart/2005/8/layout/hierarchy2"/>
    <dgm:cxn modelId="{A1B5A037-6B0D-4016-AA52-FD10C03141B2}" type="presParOf" srcId="{7F0EC1F6-CABA-4BA7-AAD5-33547614AB35}" destId="{BEE584C4-26DF-45A7-A8AB-20A8D5C70305}" srcOrd="4" destOrd="0" presId="urn:microsoft.com/office/officeart/2005/8/layout/hierarchy2"/>
    <dgm:cxn modelId="{B834C44E-FCA2-4AAD-A491-9A616C09CC31}" type="presParOf" srcId="{BEE584C4-26DF-45A7-A8AB-20A8D5C70305}" destId="{ECE702C6-E7DA-4248-ACB4-6299D0C44561}" srcOrd="0" destOrd="0" presId="urn:microsoft.com/office/officeart/2005/8/layout/hierarchy2"/>
    <dgm:cxn modelId="{BDE1FF22-43F6-4C97-BC57-238F1B232199}" type="presParOf" srcId="{7F0EC1F6-CABA-4BA7-AAD5-33547614AB35}" destId="{29230464-4455-48CB-A8F2-8015A5D53879}" srcOrd="5" destOrd="0" presId="urn:microsoft.com/office/officeart/2005/8/layout/hierarchy2"/>
    <dgm:cxn modelId="{17A16B3E-DE74-405D-9844-1BEE261702D1}" type="presParOf" srcId="{29230464-4455-48CB-A8F2-8015A5D53879}" destId="{77A078FC-9177-4C5C-905A-F1E197CE443F}" srcOrd="0" destOrd="0" presId="urn:microsoft.com/office/officeart/2005/8/layout/hierarchy2"/>
    <dgm:cxn modelId="{F5252BAD-3930-43BB-A633-35509C4D21F1}" type="presParOf" srcId="{29230464-4455-48CB-A8F2-8015A5D53879}" destId="{EF2149FF-D8CE-433A-A11F-449EB763AB2D}" srcOrd="1" destOrd="0" presId="urn:microsoft.com/office/officeart/2005/8/layout/hierarchy2"/>
    <dgm:cxn modelId="{60F99371-40FC-4B96-8263-66D3C57E9537}" type="presParOf" srcId="{7F0EC1F6-CABA-4BA7-AAD5-33547614AB35}" destId="{2E43E2A7-5826-4A04-A038-2E5BE6BC21EE}" srcOrd="6" destOrd="0" presId="urn:microsoft.com/office/officeart/2005/8/layout/hierarchy2"/>
    <dgm:cxn modelId="{CE61D4ED-B2D1-4B6A-B913-233F11F082D7}" type="presParOf" srcId="{2E43E2A7-5826-4A04-A038-2E5BE6BC21EE}" destId="{57AFB856-53BF-49EF-BB91-54165219F660}" srcOrd="0" destOrd="0" presId="urn:microsoft.com/office/officeart/2005/8/layout/hierarchy2"/>
    <dgm:cxn modelId="{6A88062D-063A-4C4F-AF83-27C430695C57}" type="presParOf" srcId="{7F0EC1F6-CABA-4BA7-AAD5-33547614AB35}" destId="{9627379F-0CD0-4BAD-915E-718605FB58AB}" srcOrd="7" destOrd="0" presId="urn:microsoft.com/office/officeart/2005/8/layout/hierarchy2"/>
    <dgm:cxn modelId="{A2F3BD02-F836-4B39-AEB7-37E7084DC43A}" type="presParOf" srcId="{9627379F-0CD0-4BAD-915E-718605FB58AB}" destId="{A42D7762-5C05-4058-89E2-AECF8C43C021}" srcOrd="0" destOrd="0" presId="urn:microsoft.com/office/officeart/2005/8/layout/hierarchy2"/>
    <dgm:cxn modelId="{0443B482-F3B5-463F-B47F-1D40A57A37F8}" type="presParOf" srcId="{9627379F-0CD0-4BAD-915E-718605FB58AB}" destId="{83564DBD-C48E-476F-9850-543E17BDD3DD}" srcOrd="1" destOrd="0" presId="urn:microsoft.com/office/officeart/2005/8/layout/hierarchy2"/>
    <dgm:cxn modelId="{133D5D86-709E-409B-85EC-05231AB533A5}" type="presParOf" srcId="{97F9B3D7-0A21-4DA3-A9FC-58C175E5696E}" destId="{811F587B-953A-474D-AF01-8F2D70B363B1}" srcOrd="1" destOrd="0" presId="urn:microsoft.com/office/officeart/2005/8/layout/hierarchy2"/>
    <dgm:cxn modelId="{EB2550AA-9FAB-4B64-AD07-914179F299E6}" type="presParOf" srcId="{811F587B-953A-474D-AF01-8F2D70B363B1}" destId="{9F310061-E9D3-4FE2-9D43-43AC2699375B}" srcOrd="0" destOrd="0" presId="urn:microsoft.com/office/officeart/2005/8/layout/hierarchy2"/>
    <dgm:cxn modelId="{31CFDE28-703D-498F-80B2-BD77EE69EB07}" type="presParOf" srcId="{811F587B-953A-474D-AF01-8F2D70B363B1}" destId="{9728EC18-3241-4149-AA04-642797FDCB93}"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3/2013 2:5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3/2013 2:5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23/2013 2:5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423743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381367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8C44AEB-B7E8-44BE-921E-D24EEE692B85}" type="datetime1">
              <a:rPr lang="en-US" smtClean="0"/>
              <a:t>6/2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646364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5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5663126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5459234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41930798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3922989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CCA4B0-7CB7-4279-A251-B03100DD5DCE}" type="datetime1">
              <a:rPr lang="en-US" smtClean="0"/>
              <a:t>6/2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3188100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FF78327-7442-43C2-AD90-8F9734AFFFE3}" type="slidenum">
              <a:rPr lang="en-US" smtClean="0"/>
              <a:pPr/>
              <a:t>19</a:t>
            </a:fld>
            <a:endParaRPr lang="en-US"/>
          </a:p>
        </p:txBody>
      </p:sp>
    </p:spTree>
    <p:extLst>
      <p:ext uri="{BB962C8B-B14F-4D97-AF65-F5344CB8AC3E}">
        <p14:creationId xmlns:p14="http://schemas.microsoft.com/office/powerpoint/2010/main" val="24010422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FF78327-7442-43C2-AD90-8F9734AFFFE3}" type="slidenum">
              <a:rPr lang="en-US" smtClean="0"/>
              <a:pPr/>
              <a:t>20</a:t>
            </a:fld>
            <a:endParaRPr lang="en-US"/>
          </a:p>
        </p:txBody>
      </p:sp>
    </p:spTree>
    <p:extLst>
      <p:ext uri="{BB962C8B-B14F-4D97-AF65-F5344CB8AC3E}">
        <p14:creationId xmlns:p14="http://schemas.microsoft.com/office/powerpoint/2010/main" val="2692951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23/2013 2:5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8116440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FF78327-7442-43C2-AD90-8F9734AFFFE3}" type="slidenum">
              <a:rPr lang="en-US" smtClean="0"/>
              <a:pPr/>
              <a:t>21</a:t>
            </a:fld>
            <a:endParaRPr lang="en-US"/>
          </a:p>
        </p:txBody>
      </p:sp>
    </p:spTree>
    <p:extLst>
      <p:ext uri="{BB962C8B-B14F-4D97-AF65-F5344CB8AC3E}">
        <p14:creationId xmlns:p14="http://schemas.microsoft.com/office/powerpoint/2010/main" val="39739574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FF78327-7442-43C2-AD90-8F9734AFFFE3}" type="slidenum">
              <a:rPr lang="en-US" smtClean="0"/>
              <a:pPr/>
              <a:t>22</a:t>
            </a:fld>
            <a:endParaRPr lang="en-US"/>
          </a:p>
        </p:txBody>
      </p:sp>
    </p:spTree>
    <p:extLst>
      <p:ext uri="{BB962C8B-B14F-4D97-AF65-F5344CB8AC3E}">
        <p14:creationId xmlns:p14="http://schemas.microsoft.com/office/powerpoint/2010/main" val="2851457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5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3016670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2CB8296B-8E3A-4B2C-9983-2A2FCC44FCAD}" type="datetime1">
              <a:rPr lang="en-US" smtClean="0"/>
              <a:t>6/23/2013</a:t>
            </a:fld>
            <a:endParaRPr lang="en-US" dirty="0"/>
          </a:p>
        </p:txBody>
      </p:sp>
      <p:sp>
        <p:nvSpPr>
          <p:cNvPr id="5" name="Footer Placeholder 4"/>
          <p:cNvSpPr>
            <a:spLocks noGrp="1"/>
          </p:cNvSpPr>
          <p:nvPr>
            <p:ph type="ftr" sz="quarter" idx="11"/>
          </p:nvPr>
        </p:nvSpPr>
        <p:spPr>
          <a:xfrm>
            <a:off x="0" y="8685213"/>
            <a:ext cx="6172200" cy="457200"/>
          </a:xfrm>
          <a:prstGeom prst="rect">
            <a:avLst/>
          </a:prstGeom>
        </p:spPr>
        <p:txBody>
          <a:bodyPr/>
          <a:lstStyle/>
          <a:p>
            <a:r>
              <a:rPr lang="en-US" dirty="0"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4</a:t>
            </a:fld>
            <a:endParaRPr lang="en-US" dirty="0"/>
          </a:p>
        </p:txBody>
      </p:sp>
      <p:sp>
        <p:nvSpPr>
          <p:cNvPr id="8" name="Header Placeholder 7"/>
          <p:cNvSpPr>
            <a:spLocks noGrp="1"/>
          </p:cNvSpPr>
          <p:nvPr>
            <p:ph type="hdr" sz="quarter" idx="13"/>
          </p:nvPr>
        </p:nvSpPr>
        <p:spPr>
          <a:xfrm>
            <a:off x="0" y="0"/>
            <a:ext cx="2971800" cy="457200"/>
          </a:xfrm>
          <a:prstGeom prst="rect">
            <a:avLst/>
          </a:prstGeom>
        </p:spPr>
        <p:txBody>
          <a:bodyPr/>
          <a:lstStyle/>
          <a:p>
            <a:r>
              <a:rPr lang="en-US" dirty="0" smtClean="0"/>
              <a:t>Microsoft Consumer Channels and Central Marketing Group</a:t>
            </a:r>
            <a:endParaRPr lang="en-US" dirty="0"/>
          </a:p>
        </p:txBody>
      </p:sp>
    </p:spTree>
    <p:extLst>
      <p:ext uri="{BB962C8B-B14F-4D97-AF65-F5344CB8AC3E}">
        <p14:creationId xmlns:p14="http://schemas.microsoft.com/office/powerpoint/2010/main" val="36537431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FA2F554-FA2C-410C-AEEB-CCA5094C9245}" type="datetime1">
              <a:rPr lang="en-US" smtClean="0"/>
              <a:t>6/2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42515652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2CB8296B-8E3A-4B2C-9983-2A2FCC44FCAD}" type="datetime1">
              <a:rPr lang="en-US" smtClean="0"/>
              <a:t>6/23/2013</a:t>
            </a:fld>
            <a:endParaRPr lang="en-US" dirty="0"/>
          </a:p>
        </p:txBody>
      </p:sp>
      <p:sp>
        <p:nvSpPr>
          <p:cNvPr id="5" name="Footer Placeholder 4"/>
          <p:cNvSpPr>
            <a:spLocks noGrp="1"/>
          </p:cNvSpPr>
          <p:nvPr>
            <p:ph type="ftr" sz="quarter" idx="11"/>
          </p:nvPr>
        </p:nvSpPr>
        <p:spPr>
          <a:xfrm>
            <a:off x="0" y="8685213"/>
            <a:ext cx="6172200" cy="457200"/>
          </a:xfrm>
          <a:prstGeom prst="rect">
            <a:avLst/>
          </a:prstGeom>
        </p:spPr>
        <p:txBody>
          <a:bodyPr/>
          <a:lstStyle/>
          <a:p>
            <a:r>
              <a:rPr lang="en-US" dirty="0"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26</a:t>
            </a:fld>
            <a:endParaRPr lang="en-US" dirty="0"/>
          </a:p>
        </p:txBody>
      </p:sp>
      <p:sp>
        <p:nvSpPr>
          <p:cNvPr id="8" name="Header Placeholder 7"/>
          <p:cNvSpPr>
            <a:spLocks noGrp="1"/>
          </p:cNvSpPr>
          <p:nvPr>
            <p:ph type="hdr" sz="quarter" idx="13"/>
          </p:nvPr>
        </p:nvSpPr>
        <p:spPr>
          <a:xfrm>
            <a:off x="0" y="0"/>
            <a:ext cx="2971800" cy="457200"/>
          </a:xfrm>
          <a:prstGeom prst="rect">
            <a:avLst/>
          </a:prstGeom>
        </p:spPr>
        <p:txBody>
          <a:bodyPr/>
          <a:lstStyle/>
          <a:p>
            <a:r>
              <a:rPr lang="en-US" dirty="0" smtClean="0"/>
              <a:t>Microsoft Consumer Channels and Central Marketing Group</a:t>
            </a:r>
            <a:endParaRPr lang="en-US" dirty="0"/>
          </a:p>
        </p:txBody>
      </p:sp>
    </p:spTree>
    <p:extLst>
      <p:ext uri="{BB962C8B-B14F-4D97-AF65-F5344CB8AC3E}">
        <p14:creationId xmlns:p14="http://schemas.microsoft.com/office/powerpoint/2010/main" val="14054214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33255416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fld id="{0FF78327-7442-43C2-AD90-8F9734AFFFE3}" type="slidenum">
              <a:rPr lang="en-US" smtClean="0"/>
              <a:pPr/>
              <a:t>29</a:t>
            </a:fld>
            <a:endParaRPr lang="en-US"/>
          </a:p>
        </p:txBody>
      </p:sp>
    </p:spTree>
    <p:extLst>
      <p:ext uri="{BB962C8B-B14F-4D97-AF65-F5344CB8AC3E}">
        <p14:creationId xmlns:p14="http://schemas.microsoft.com/office/powerpoint/2010/main" val="30320014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fld id="{0FF78327-7442-43C2-AD90-8F9734AFFFE3}" type="slidenum">
              <a:rPr lang="en-US" smtClean="0"/>
              <a:pPr/>
              <a:t>30</a:t>
            </a:fld>
            <a:endParaRPr lang="en-US"/>
          </a:p>
        </p:txBody>
      </p:sp>
    </p:spTree>
    <p:extLst>
      <p:ext uri="{BB962C8B-B14F-4D97-AF65-F5344CB8AC3E}">
        <p14:creationId xmlns:p14="http://schemas.microsoft.com/office/powerpoint/2010/main" val="3935354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fld id="{0FF78327-7442-43C2-AD90-8F9734AFFFE3}" type="slidenum">
              <a:rPr lang="en-US" smtClean="0"/>
              <a:pPr/>
              <a:t>31</a:t>
            </a:fld>
            <a:endParaRPr lang="en-US"/>
          </a:p>
        </p:txBody>
      </p:sp>
    </p:spTree>
    <p:extLst>
      <p:ext uri="{BB962C8B-B14F-4D97-AF65-F5344CB8AC3E}">
        <p14:creationId xmlns:p14="http://schemas.microsoft.com/office/powerpoint/2010/main" val="2735551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5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4002729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5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5945986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FF78327-7442-43C2-AD90-8F9734AFFFE3}" type="slidenum">
              <a:rPr lang="en-US" smtClean="0"/>
              <a:pPr/>
              <a:t>34</a:t>
            </a:fld>
            <a:endParaRPr lang="en-US"/>
          </a:p>
        </p:txBody>
      </p:sp>
    </p:spTree>
    <p:extLst>
      <p:ext uri="{BB962C8B-B14F-4D97-AF65-F5344CB8AC3E}">
        <p14:creationId xmlns:p14="http://schemas.microsoft.com/office/powerpoint/2010/main" val="40554183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FF78327-7442-43C2-AD90-8F9734AFFFE3}" type="slidenum">
              <a:rPr lang="en-US" smtClean="0"/>
              <a:pPr/>
              <a:t>35</a:t>
            </a:fld>
            <a:endParaRPr lang="en-US"/>
          </a:p>
        </p:txBody>
      </p:sp>
    </p:spTree>
    <p:extLst>
      <p:ext uri="{BB962C8B-B14F-4D97-AF65-F5344CB8AC3E}">
        <p14:creationId xmlns:p14="http://schemas.microsoft.com/office/powerpoint/2010/main" val="8938766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8" name="Date Placeholder 7"/>
          <p:cNvSpPr>
            <a:spLocks noGrp="1"/>
          </p:cNvSpPr>
          <p:nvPr>
            <p:ph type="dt" idx="10"/>
          </p:nvPr>
        </p:nvSpPr>
        <p:spPr/>
        <p:txBody>
          <a:bodyPr/>
          <a:lstStyle/>
          <a:p>
            <a:fld id="{2EC64DE5-4A80-4049-BDC7-E36CCA811281}" type="datetime1">
              <a:rPr lang="en-US" smtClean="0"/>
              <a:pPr/>
              <a:t>6/23/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36</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9482974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37</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23/2013 2:58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10226035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38</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23/2013 2:58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29962344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5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3/2013 2:5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9165549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23/2013 2:58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5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2388161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AB991AD-CF3C-4678-BFC2-ABF1562C67D7}" type="datetime1">
              <a:rPr lang="en-US" smtClean="0"/>
              <a:t>6/2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272872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fld id="{F22B3E36-5CE0-4CB7-82DE-38A88C71BFA8}" type="datetime1">
              <a:rPr lang="en-US" smtClean="0"/>
              <a:pPr/>
              <a:t>6/23/2013</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6</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24213246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E5D60-C9EA-4FE2-AB73-E6CC5D3FD7BA}" type="datetime1">
              <a:rPr lang="en-US" smtClean="0"/>
              <a:t>6/2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5226063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9CE5D60-C9EA-4FE2-AB73-E6CC5D3FD7BA}" type="datetime1">
              <a:rPr lang="en-US" smtClean="0"/>
              <a:t>6/2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42523966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53434E-F623-4C69-8ECF-4C4C7B390334}"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6047261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grpSp>
        <p:nvGrpSpPr>
          <p:cNvPr id="19" name="Group 18"/>
          <p:cNvGrpSpPr/>
          <p:nvPr/>
        </p:nvGrpSpPr>
        <p:grpSpPr>
          <a:xfrm>
            <a:off x="0" y="0"/>
            <a:ext cx="12436475" cy="6994525"/>
            <a:chOff x="0" y="0"/>
            <a:chExt cx="12436475" cy="6994525"/>
          </a:xfrm>
        </p:grpSpPr>
        <p:grpSp>
          <p:nvGrpSpPr>
            <p:cNvPr id="20" name="Group 19"/>
            <p:cNvGrpSpPr/>
            <p:nvPr userDrawn="1"/>
          </p:nvGrpSpPr>
          <p:grpSpPr>
            <a:xfrm>
              <a:off x="0" y="0"/>
              <a:ext cx="12436475" cy="6994525"/>
              <a:chOff x="0" y="0"/>
              <a:chExt cx="12436475" cy="6994525"/>
            </a:xfrm>
          </p:grpSpPr>
          <p:sp>
            <p:nvSpPr>
              <p:cNvPr id="22" name="Frame 21"/>
              <p:cNvSpPr/>
              <p:nvPr userDrawn="1"/>
            </p:nvSpPr>
            <p:spPr bwMode="auto">
              <a:xfrm>
                <a:off x="0" y="0"/>
                <a:ext cx="12436475" cy="6994525"/>
              </a:xfrm>
              <a:prstGeom prst="frame">
                <a:avLst>
                  <a:gd name="adj1" fmla="val 378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userDrawn="1"/>
            </p:nvGrpSpPr>
            <p:grpSpPr>
              <a:xfrm>
                <a:off x="182886" y="190969"/>
                <a:ext cx="12118113" cy="6607864"/>
                <a:chOff x="182886" y="190969"/>
                <a:chExt cx="12118113" cy="6607864"/>
              </a:xfrm>
            </p:grpSpPr>
            <p:sp>
              <p:nvSpPr>
                <p:cNvPr id="24" name="Rectangle 23"/>
                <p:cNvSpPr/>
                <p:nvPr userDrawn="1"/>
              </p:nvSpPr>
              <p:spPr bwMode="auto">
                <a:xfrm>
                  <a:off x="236668" y="6702014"/>
                  <a:ext cx="12064331" cy="96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userDrawn="1"/>
              </p:nvSpPr>
              <p:spPr bwMode="auto">
                <a:xfrm>
                  <a:off x="182886" y="190969"/>
                  <a:ext cx="12064331" cy="96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1" name="Rectangle 20"/>
            <p:cNvSpPr/>
            <p:nvPr userDrawn="1"/>
          </p:nvSpPr>
          <p:spPr bwMode="auto">
            <a:xfrm>
              <a:off x="12161837" y="190969"/>
              <a:ext cx="85380" cy="66078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4" name="Rectangle 3"/>
          <p:cNvSpPr/>
          <p:nvPr/>
        </p:nvSpPr>
        <p:spPr bwMode="auto">
          <a:xfrm>
            <a:off x="-1" y="471031"/>
            <a:ext cx="11246070" cy="748169"/>
          </a:xfrm>
          <a:prstGeom prst="rect">
            <a:avLst/>
          </a:prstGeom>
          <a:solidFill>
            <a:srgbClr val="00BCF2">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320" y="471031"/>
            <a:ext cx="10809316" cy="748169"/>
          </a:xfrm>
        </p:spPr>
        <p:txBody>
          <a:bodyPr anchor="t" anchorCtr="0"/>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395736"/>
            <a:ext cx="11598707" cy="1914370"/>
          </a:xfrm>
        </p:spPr>
        <p:txBody>
          <a:bodyPr/>
          <a:lstStyle>
            <a:lvl1pPr marL="0" indent="0">
              <a:buNone/>
              <a:defRPr>
                <a:gradFill>
                  <a:gsLst>
                    <a:gs pos="1250">
                      <a:schemeClr val="accent3"/>
                    </a:gs>
                    <a:gs pos="99000">
                      <a:schemeClr val="accent3"/>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Right Triangle 25"/>
          <p:cNvSpPr/>
          <p:nvPr/>
        </p:nvSpPr>
        <p:spPr bwMode="auto">
          <a:xfrm rot="10800000">
            <a:off x="-2" y="1219198"/>
            <a:ext cx="263347" cy="241979"/>
          </a:xfrm>
          <a:prstGeom prst="rtTriangl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9"/>
          <p:cNvSpPr>
            <a:spLocks noEditPoints="1"/>
          </p:cNvSpPr>
          <p:nvPr/>
        </p:nvSpPr>
        <p:spPr bwMode="black">
          <a:xfrm>
            <a:off x="11578360" y="6136194"/>
            <a:ext cx="390525" cy="39211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631937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1"/>
            <a:ext cx="11375536" cy="62153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3"/>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062913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39214278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1284077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40425360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109712" rIns="146283" bIns="109712"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664480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2369400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320444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9008680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4687131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9802026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0852005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3574544"/>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91164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616108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4535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532835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5402258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195142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031681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95667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323793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17627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458209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29662" y="1476625"/>
            <a:ext cx="5597871" cy="1940531"/>
          </a:xfrm>
        </p:spPr>
        <p:txBody>
          <a:bodyPr/>
          <a:lstStyle>
            <a:lvl1pPr marL="346713" indent="-346713">
              <a:lnSpc>
                <a:spcPct val="90000"/>
              </a:lnSpc>
              <a:defRPr sz="2900"/>
            </a:lvl1pPr>
            <a:lvl2pPr marL="686682" indent="-331873">
              <a:lnSpc>
                <a:spcPct val="90000"/>
              </a:lnSpc>
              <a:defRPr sz="2400"/>
            </a:lvl2pPr>
            <a:lvl3pPr marL="972686" indent="-294099">
              <a:lnSpc>
                <a:spcPct val="90000"/>
              </a:lnSpc>
              <a:defRPr sz="2000"/>
            </a:lvl3pPr>
            <a:lvl4pPr marL="1251946" indent="-279260">
              <a:lnSpc>
                <a:spcPct val="90000"/>
              </a:lnSpc>
              <a:defRPr sz="1800"/>
            </a:lvl4pPr>
            <a:lvl5pPr marL="1546045" indent="-286005">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7" y="1476625"/>
            <a:ext cx="5597871" cy="1940531"/>
          </a:xfrm>
        </p:spPr>
        <p:txBody>
          <a:bodyPr/>
          <a:lstStyle>
            <a:lvl1pPr marL="354809" indent="-354809">
              <a:lnSpc>
                <a:spcPct val="90000"/>
              </a:lnSpc>
              <a:defRPr sz="2900"/>
            </a:lvl1pPr>
            <a:lvl2pPr marL="686682" indent="-346713">
              <a:lnSpc>
                <a:spcPct val="90000"/>
              </a:lnSpc>
              <a:defRPr sz="2400"/>
            </a:lvl2pPr>
            <a:lvl3pPr marL="980781" indent="-308940">
              <a:lnSpc>
                <a:spcPct val="90000"/>
              </a:lnSpc>
              <a:defRPr sz="2000"/>
            </a:lvl3pPr>
            <a:lvl4pPr marL="1251946" indent="-271165">
              <a:lnSpc>
                <a:spcPct val="90000"/>
              </a:lnSpc>
              <a:defRPr sz="1800"/>
            </a:lvl4pPr>
            <a:lvl5pPr marL="1546045" indent="-279260">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3"/>
          <p:cNvSpPr txBox="1">
            <a:spLocks/>
          </p:cNvSpPr>
          <p:nvPr/>
        </p:nvSpPr>
        <p:spPr>
          <a:xfrm>
            <a:off x="309375" y="6482893"/>
            <a:ext cx="2900981" cy="372394"/>
          </a:xfrm>
          <a:prstGeom prst="rect">
            <a:avLst/>
          </a:prstGeom>
        </p:spPr>
        <p:txBody>
          <a:bodyPr vert="horz" lIns="93257" tIns="46628" rIns="93257" bIns="46628" rtlCol="0" anchor="ctr"/>
          <a:lstStyle>
            <a:lvl1pPr algn="l">
              <a:defRPr sz="1200">
                <a:solidFill>
                  <a:schemeClr val="tx1">
                    <a:tint val="75000"/>
                  </a:schemeClr>
                </a:solidFill>
              </a:defRPr>
            </a:lvl1pPr>
          </a:lstStyle>
          <a:p>
            <a:pPr defTabSz="932483">
              <a:defRPr/>
            </a:pPr>
            <a:fld id="{24516EDB-3C53-4793-B056-19F9B4AE913A}" type="slidenum">
              <a:rPr lang="en-US" sz="1199" smtClean="0">
                <a:solidFill>
                  <a:srgbClr val="292929">
                    <a:tint val="75000"/>
                  </a:srgbClr>
                </a:solidFill>
              </a:rPr>
              <a:pPr defTabSz="932483">
                <a:defRPr/>
              </a:pPr>
              <a:t>‹#›</a:t>
            </a:fld>
            <a:endParaRPr lang="en-US" sz="1199" dirty="0">
              <a:solidFill>
                <a:srgbClr val="292929">
                  <a:tint val="75000"/>
                </a:srgbClr>
              </a:solidFill>
            </a:endParaRPr>
          </a:p>
        </p:txBody>
      </p:sp>
    </p:spTree>
    <p:extLst>
      <p:ext uri="{BB962C8B-B14F-4D97-AF65-F5344CB8AC3E}">
        <p14:creationId xmlns:p14="http://schemas.microsoft.com/office/powerpoint/2010/main" val="249659719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7329" y="233153"/>
            <a:ext cx="11375536" cy="476742"/>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3"/>
          <p:cNvSpPr txBox="1">
            <a:spLocks/>
          </p:cNvSpPr>
          <p:nvPr/>
        </p:nvSpPr>
        <p:spPr>
          <a:xfrm>
            <a:off x="309375" y="6482893"/>
            <a:ext cx="2900981" cy="372394"/>
          </a:xfrm>
          <a:prstGeom prst="rect">
            <a:avLst/>
          </a:prstGeom>
        </p:spPr>
        <p:txBody>
          <a:bodyPr vert="horz" lIns="93257" tIns="46628" rIns="93257" bIns="46628" rtlCol="0" anchor="ctr"/>
          <a:lstStyle>
            <a:lvl1pPr algn="l">
              <a:defRPr sz="1200">
                <a:solidFill>
                  <a:schemeClr val="tx1">
                    <a:tint val="75000"/>
                  </a:schemeClr>
                </a:solidFill>
              </a:defRPr>
            </a:lvl1pPr>
          </a:lstStyle>
          <a:p>
            <a:pPr defTabSz="932483">
              <a:defRPr/>
            </a:pPr>
            <a:fld id="{24516EDB-3C53-4793-B056-19F9B4AE913A}" type="slidenum">
              <a:rPr lang="en-US" sz="1199" smtClean="0">
                <a:solidFill>
                  <a:srgbClr val="292929">
                    <a:tint val="75000"/>
                  </a:srgbClr>
                </a:solidFill>
              </a:rPr>
              <a:pPr defTabSz="932483">
                <a:defRPr/>
              </a:pPr>
              <a:t>‹#›</a:t>
            </a:fld>
            <a:endParaRPr lang="en-US" sz="1199" dirty="0">
              <a:solidFill>
                <a:srgbClr val="292929">
                  <a:tint val="75000"/>
                </a:srgbClr>
              </a:solidFill>
            </a:endParaRPr>
          </a:p>
        </p:txBody>
      </p:sp>
    </p:spTree>
    <p:extLst>
      <p:ext uri="{BB962C8B-B14F-4D97-AF65-F5344CB8AC3E}">
        <p14:creationId xmlns:p14="http://schemas.microsoft.com/office/powerpoint/2010/main" val="787529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255725646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40275220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139142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507918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987008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020057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78695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9926497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2648891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420539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379837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5458028"/>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533505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704644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229943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958670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5847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60154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75171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503089"/>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751109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05253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54253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heme" Target="../theme/theme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4" r:id="rId23"/>
    <p:sldLayoutId id="2147484245" r:id="rId2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3354598"/>
      </p:ext>
    </p:extLst>
  </p:cSld>
  <p:clrMap bg1="dk1" tx1="lt1" bg2="dk2" tx2="lt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208" r:id="rId12"/>
    <p:sldLayoutId id="2147484209" r:id="rId13"/>
    <p:sldLayoutId id="2147484210" r:id="rId14"/>
    <p:sldLayoutId id="2147484211" r:id="rId15"/>
    <p:sldLayoutId id="2147484212" r:id="rId16"/>
    <p:sldLayoutId id="2147484213" r:id="rId17"/>
    <p:sldLayoutId id="2147484214" r:id="rId18"/>
    <p:sldLayoutId id="2147484215" r:id="rId19"/>
    <p:sldLayoutId id="2147484216" r:id="rId20"/>
    <p:sldLayoutId id="2147484217" r:id="rId21"/>
    <p:sldLayoutId id="2147484218" r:id="rId22"/>
    <p:sldLayoutId id="2147484219" r:id="rId23"/>
    <p:sldLayoutId id="2147484220" r:id="rId24"/>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4878968"/>
      </p:ext>
    </p:extLst>
  </p:cSld>
  <p:clrMap bg1="dk1" tx1="lt1" bg2="dk2" tx2="lt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251" r:id="rId5"/>
    <p:sldLayoutId id="2147484252" r:id="rId6"/>
    <p:sldLayoutId id="2147484253" r:id="rId7"/>
    <p:sldLayoutId id="2147484254" r:id="rId8"/>
    <p:sldLayoutId id="2147484255" r:id="rId9"/>
    <p:sldLayoutId id="2147484256" r:id="rId10"/>
    <p:sldLayoutId id="2147484257" r:id="rId11"/>
    <p:sldLayoutId id="2147484258" r:id="rId12"/>
    <p:sldLayoutId id="2147484259" r:id="rId13"/>
    <p:sldLayoutId id="2147484260" r:id="rId14"/>
    <p:sldLayoutId id="2147484261" r:id="rId15"/>
    <p:sldLayoutId id="2147484262" r:id="rId16"/>
    <p:sldLayoutId id="2147484263" r:id="rId17"/>
    <p:sldLayoutId id="2147484264" r:id="rId18"/>
    <p:sldLayoutId id="2147484265" r:id="rId19"/>
    <p:sldLayoutId id="2147484266" r:id="rId20"/>
    <p:sldLayoutId id="2147484267" r:id="rId21"/>
    <p:sldLayoutId id="2147484268" r:id="rId22"/>
    <p:sldLayoutId id="2147484269"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2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notesSlide" Target="../notesSlides/notesSlide11.xml"/><Relationship Id="rId4" Type="http://schemas.openxmlformats.org/officeDocument/2006/relationships/tags" Target="../tags/tag3.xml"/><Relationship Id="rId9"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28.png"/><Relationship Id="rId4" Type="http://schemas.microsoft.com/office/2007/relationships/hdphoto" Target="../media/hdphoto8.wdp"/></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16.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8" Type="http://schemas.openxmlformats.org/officeDocument/2006/relationships/hyperlink" Target="microsoft.com/windows/wtg" TargetMode="External"/><Relationship Id="rId3" Type="http://schemas.openxmlformats.org/officeDocument/2006/relationships/image" Target="../media/image38.png"/><Relationship Id="rId7" Type="http://schemas.openxmlformats.org/officeDocument/2006/relationships/hyperlink" Target="microsoft.com/dv" TargetMode="External"/><Relationship Id="rId2" Type="http://schemas.openxmlformats.org/officeDocument/2006/relationships/notesSlide" Target="../notesSlides/notesSlide35.xml"/><Relationship Id="rId1" Type="http://schemas.openxmlformats.org/officeDocument/2006/relationships/slideLayout" Target="../slideLayouts/slideLayout40.xml"/><Relationship Id="rId6" Type="http://schemas.openxmlformats.org/officeDocument/2006/relationships/hyperlink" Target="microsoft.com/mdop" TargetMode="External"/><Relationship Id="rId5" Type="http://schemas.openxmlformats.org/officeDocument/2006/relationships/hyperlink" Target="windows.com/ITpro" TargetMode="External"/><Relationship Id="rId4" Type="http://schemas.openxmlformats.org/officeDocument/2006/relationships/hyperlink" Target="windows.com/enterprise" TargetMode="External"/><Relationship Id="rId9" Type="http://schemas.openxmlformats.org/officeDocument/2006/relationships/hyperlink" Target="tryoutlook.com"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39.png"/><Relationship Id="rId2" Type="http://schemas.openxmlformats.org/officeDocument/2006/relationships/notesSlide" Target="../notesSlides/notesSlide36.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2.pn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7.xml"/><Relationship Id="rId1" Type="http://schemas.openxmlformats.org/officeDocument/2006/relationships/slideLayout" Target="../slideLayouts/slideLayout64.xml"/><Relationship Id="rId5" Type="http://schemas.openxmlformats.org/officeDocument/2006/relationships/image" Target="../media/image42.png"/><Relationship Id="rId4" Type="http://schemas.openxmlformats.org/officeDocument/2006/relationships/image" Target="../media/image41.png"/></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8.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9.png"/><Relationship Id="rId18" Type="http://schemas.openxmlformats.org/officeDocument/2006/relationships/image" Target="../media/image22.png"/><Relationship Id="rId3" Type="http://schemas.openxmlformats.org/officeDocument/2006/relationships/image" Target="../media/image13.png"/><Relationship Id="rId7" Type="http://schemas.microsoft.com/office/2007/relationships/hdphoto" Target="../media/hdphoto2.wdp"/><Relationship Id="rId12" Type="http://schemas.openxmlformats.org/officeDocument/2006/relationships/image" Target="../media/image18.png"/><Relationship Id="rId17" Type="http://schemas.openxmlformats.org/officeDocument/2006/relationships/image" Target="../media/image21.png"/><Relationship Id="rId2" Type="http://schemas.openxmlformats.org/officeDocument/2006/relationships/notesSlide" Target="../notesSlides/notesSlide5.xml"/><Relationship Id="rId16" Type="http://schemas.microsoft.com/office/2007/relationships/hdphoto" Target="../media/hdphoto6.wdp"/><Relationship Id="rId20" Type="http://schemas.microsoft.com/office/2007/relationships/hdphoto" Target="../media/hdphoto7.wdp"/><Relationship Id="rId1" Type="http://schemas.openxmlformats.org/officeDocument/2006/relationships/slideLayout" Target="../slideLayouts/slideLayout24.xml"/><Relationship Id="rId6" Type="http://schemas.openxmlformats.org/officeDocument/2006/relationships/image" Target="../media/image15.png"/><Relationship Id="rId11" Type="http://schemas.microsoft.com/office/2007/relationships/hdphoto" Target="../media/hdphoto4.wdp"/><Relationship Id="rId5" Type="http://schemas.openxmlformats.org/officeDocument/2006/relationships/image" Target="../media/image14.png"/><Relationship Id="rId15" Type="http://schemas.openxmlformats.org/officeDocument/2006/relationships/image" Target="../media/image20.png"/><Relationship Id="rId10" Type="http://schemas.openxmlformats.org/officeDocument/2006/relationships/image" Target="../media/image17.png"/><Relationship Id="rId19" Type="http://schemas.openxmlformats.org/officeDocument/2006/relationships/image" Target="../media/image23.png"/><Relationship Id="rId4" Type="http://schemas.microsoft.com/office/2007/relationships/hdphoto" Target="../media/hdphoto1.wdp"/><Relationship Id="rId9" Type="http://schemas.microsoft.com/office/2007/relationships/hdphoto" Target="../media/hdphoto3.wdp"/><Relationship Id="rId14" Type="http://schemas.microsoft.com/office/2007/relationships/hdphoto" Target="../media/hdphoto5.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25.emf"/></Relationships>
</file>

<file path=ppt/slides/_rels/slide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26.emf"/></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11.xml"/><Relationship Id="rId5" Type="http://schemas.openxmlformats.org/officeDocument/2006/relationships/image" Target="../media/image28.png"/><Relationship Id="rId4" Type="http://schemas.microsoft.com/office/2007/relationships/hdphoto" Target="../media/hdphoto8.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te Expansion</a:t>
            </a:r>
            <a:endParaRPr lang="en-US" dirty="0"/>
          </a:p>
        </p:txBody>
      </p:sp>
      <p:sp>
        <p:nvSpPr>
          <p:cNvPr id="3" name="Content Placeholder 2"/>
          <p:cNvSpPr>
            <a:spLocks noGrp="1"/>
          </p:cNvSpPr>
          <p:nvPr>
            <p:ph type="body" sz="quarter" idx="10"/>
          </p:nvPr>
        </p:nvSpPr>
        <p:spPr/>
        <p:txBody>
          <a:bodyPr/>
          <a:lstStyle/>
          <a:p>
            <a:r>
              <a:rPr lang="en-US" smtClean="0"/>
              <a:t>After you expand:</a:t>
            </a:r>
          </a:p>
          <a:p>
            <a:pPr lvl="1"/>
            <a:r>
              <a:rPr lang="en-US" smtClean="0"/>
              <a:t>Immediately after expansion, there will be a spike in Software Update Management activity when the new Central Administration Site synchronizes with the original primary site</a:t>
            </a:r>
          </a:p>
          <a:p>
            <a:pPr lvl="1"/>
            <a:endParaRPr lang="en-US" smtClean="0"/>
          </a:p>
          <a:p>
            <a:pPr lvl="1"/>
            <a:r>
              <a:rPr lang="en-US" smtClean="0"/>
              <a:t>The original standalone primary will have a separate “default” Boot WIM for OSD – the original boot WIM for that site.</a:t>
            </a:r>
          </a:p>
          <a:p>
            <a:pPr lvl="1"/>
            <a:endParaRPr lang="en-US" smtClean="0"/>
          </a:p>
          <a:p>
            <a:pPr lvl="1"/>
            <a:r>
              <a:rPr lang="en-US" smtClean="0"/>
              <a:t>Packages created at the original standalone primary site will still be handled by the Distribution Manager service on the standalone primary, not the CAS</a:t>
            </a:r>
            <a:endParaRPr lang="en-US" dirty="0"/>
          </a:p>
        </p:txBody>
      </p:sp>
    </p:spTree>
    <p:extLst>
      <p:ext uri="{BB962C8B-B14F-4D97-AF65-F5344CB8AC3E}">
        <p14:creationId xmlns:p14="http://schemas.microsoft.com/office/powerpoint/2010/main" val="47089090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4121" y="1619"/>
          <a:ext cx="1619" cy="1619"/>
        </p:xfrm>
        <a:graphic>
          <a:graphicData uri="http://schemas.openxmlformats.org/presentationml/2006/ole">
            <mc:AlternateContent xmlns:mc="http://schemas.openxmlformats.org/markup-compatibility/2006">
              <mc:Choice xmlns:v="urn:schemas-microsoft-com:vml" Requires="v">
                <p:oleObj spid="_x0000_s104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4121" y="1619"/>
                        <a:ext cx="1619" cy="1619"/>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Site Attach vs. Site Expansion</a:t>
            </a:r>
            <a:endParaRPr lang="en-US" dirty="0"/>
          </a:p>
        </p:txBody>
      </p:sp>
      <p:graphicFrame>
        <p:nvGraphicFramePr>
          <p:cNvPr id="4" name="Table 3"/>
          <p:cNvGraphicFramePr>
            <a:graphicFrameLocks noGrp="1"/>
          </p:cNvGraphicFramePr>
          <p:nvPr>
            <p:custDataLst>
              <p:tags r:id="rId4"/>
            </p:custDataLst>
            <p:extLst/>
          </p:nvPr>
        </p:nvGraphicFramePr>
        <p:xfrm>
          <a:off x="531949" y="1504378"/>
          <a:ext cx="11317599" cy="3349404"/>
        </p:xfrm>
        <a:graphic>
          <a:graphicData uri="http://schemas.openxmlformats.org/drawingml/2006/table">
            <a:tbl>
              <a:tblPr firstRow="1" bandRow="1">
                <a:tableStyleId>{5C22544A-7EE6-4342-B048-85BDC9FD1C3A}</a:tableStyleId>
              </a:tblPr>
              <a:tblGrid>
                <a:gridCol w="503606"/>
                <a:gridCol w="4467409"/>
                <a:gridCol w="506476"/>
                <a:gridCol w="5840108"/>
              </a:tblGrid>
              <a:tr h="731897">
                <a:tc gridSpan="2">
                  <a:txBody>
                    <a:bodyPr/>
                    <a:lstStyle/>
                    <a:p>
                      <a:pPr algn="l"/>
                      <a:r>
                        <a:rPr lang="en-US" sz="2900" b="0" dirty="0" smtClean="0">
                          <a:solidFill>
                            <a:srgbClr val="FFC000">
                              <a:alpha val="99000"/>
                            </a:srgbClr>
                          </a:solidFill>
                          <a:latin typeface="+mn-lt"/>
                          <a:ea typeface="Segoe UI" pitchFamily="34" charset="0"/>
                          <a:cs typeface="Segoe UI" pitchFamily="34" charset="0"/>
                        </a:rPr>
                        <a:t>Configuration Manager 2007</a:t>
                      </a:r>
                    </a:p>
                  </a:txBody>
                  <a:tcPr marL="93260" marR="93260" marT="55956" marB="55956"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ot"/>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0" algn="l" defTabSz="914363" rtl="0" eaLnBrk="1" latinLnBrk="0" hangingPunct="1"/>
                      <a:r>
                        <a:rPr lang="en-US" sz="2900" b="0" kern="1200" dirty="0" smtClean="0">
                          <a:solidFill>
                            <a:srgbClr val="FFC000">
                              <a:alpha val="99000"/>
                            </a:srgbClr>
                          </a:solidFill>
                          <a:latin typeface="+mn-lt"/>
                          <a:ea typeface="Segoe UI" pitchFamily="34" charset="0"/>
                          <a:cs typeface="Segoe UI" pitchFamily="34" charset="0"/>
                        </a:rPr>
                        <a:t>Configuration Manager 2012</a:t>
                      </a:r>
                    </a:p>
                  </a:txBody>
                  <a:tcPr marL="93260" marR="93260" marT="55956" marB="55956"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484954">
                <a:tc gridSpan="2">
                  <a:txBody>
                    <a:bodyPr/>
                    <a:lstStyle/>
                    <a:p>
                      <a:pPr algn="l">
                        <a:spcBef>
                          <a:spcPts val="600"/>
                        </a:spcBef>
                      </a:pPr>
                      <a:r>
                        <a:rPr lang="en-US" sz="2400" b="0" dirty="0" smtClean="0">
                          <a:solidFill>
                            <a:schemeClr val="tx1">
                              <a:alpha val="99000"/>
                            </a:schemeClr>
                          </a:solidFill>
                          <a:latin typeface="+mn-lt"/>
                        </a:rPr>
                        <a:t>Scenario</a:t>
                      </a:r>
                    </a:p>
                  </a:txBody>
                  <a:tcPr marL="93260" marR="93260" marT="55956" marB="55956">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l">
                        <a:spcBef>
                          <a:spcPts val="600"/>
                        </a:spcBef>
                        <a:buFontTx/>
                        <a:buNone/>
                      </a:pPr>
                      <a:r>
                        <a:rPr lang="en-US" sz="2400" b="0" dirty="0" smtClean="0">
                          <a:solidFill>
                            <a:schemeClr val="tx1">
                              <a:alpha val="99000"/>
                            </a:schemeClr>
                          </a:solidFill>
                          <a:latin typeface="+mn-lt"/>
                        </a:rPr>
                        <a:t>Equivalent</a:t>
                      </a:r>
                    </a:p>
                  </a:txBody>
                  <a:tcPr marL="93260" marR="93260" marT="55956" marB="55956">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accent1">
                          <a:lumMod val="60000"/>
                          <a:lumOff val="40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2132553">
                <a:tc>
                  <a:txBody>
                    <a:bodyPr/>
                    <a:lstStyle/>
                    <a:p>
                      <a:pPr marL="0" lvl="1" indent="0" algn="l" defTabSz="914363" rtl="0" eaLnBrk="1" latinLnBrk="0" hangingPunct="1">
                        <a:lnSpc>
                          <a:spcPct val="100000"/>
                        </a:lnSpc>
                        <a:spcBef>
                          <a:spcPts val="300"/>
                        </a:spcBef>
                        <a:buSzPct val="90000"/>
                        <a:buFontTx/>
                        <a:buNone/>
                      </a:pPr>
                      <a:endParaRPr lang="en-US" sz="2000" kern="1200" dirty="0" smtClean="0">
                        <a:solidFill>
                          <a:schemeClr val="tx1">
                            <a:alpha val="99000"/>
                          </a:schemeClr>
                        </a:solidFill>
                        <a:latin typeface="+mn-lt"/>
                        <a:ea typeface="+mn-ea"/>
                        <a:cs typeface="+mn-cs"/>
                      </a:endParaRPr>
                    </a:p>
                  </a:txBody>
                  <a:tcPr marL="93260" marR="93260" marT="55956" marB="55956">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Join site to a hierarchy</a:t>
                      </a:r>
                    </a:p>
                    <a:p>
                      <a:pPr marL="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Mergers</a:t>
                      </a:r>
                      <a:r>
                        <a:rPr lang="en-US" sz="2400" kern="1200" baseline="0" dirty="0" smtClean="0">
                          <a:solidFill>
                            <a:schemeClr val="tx1">
                              <a:alpha val="99000"/>
                            </a:schemeClr>
                          </a:solidFill>
                          <a:latin typeface="+mn-lt"/>
                          <a:ea typeface="+mn-ea"/>
                          <a:cs typeface="+mn-cs"/>
                        </a:rPr>
                        <a:t> &amp; Acquisitions</a:t>
                      </a:r>
                    </a:p>
                    <a:p>
                      <a:pPr marL="0" lvl="1" indent="0" algn="l" defTabSz="914363" rtl="0" eaLnBrk="1" latinLnBrk="0" hangingPunct="1">
                        <a:lnSpc>
                          <a:spcPct val="100000"/>
                        </a:lnSpc>
                        <a:spcBef>
                          <a:spcPts val="300"/>
                        </a:spcBef>
                        <a:buSzPct val="90000"/>
                        <a:buFontTx/>
                        <a:buNone/>
                      </a:pPr>
                      <a:r>
                        <a:rPr lang="en-US" sz="2400" kern="1200" baseline="0" dirty="0" smtClean="0">
                          <a:solidFill>
                            <a:schemeClr val="tx1">
                              <a:alpha val="99000"/>
                            </a:schemeClr>
                          </a:solidFill>
                          <a:latin typeface="+mn-lt"/>
                          <a:ea typeface="+mn-ea"/>
                          <a:cs typeface="+mn-cs"/>
                        </a:rPr>
                        <a:t>Handle hierarchy changes</a:t>
                      </a:r>
                    </a:p>
                    <a:p>
                      <a:pPr marL="0" lvl="1" indent="0" algn="l" defTabSz="914363" rtl="0" eaLnBrk="1" latinLnBrk="0" hangingPunct="1">
                        <a:lnSpc>
                          <a:spcPct val="100000"/>
                        </a:lnSpc>
                        <a:spcBef>
                          <a:spcPts val="300"/>
                        </a:spcBef>
                        <a:buSzPct val="90000"/>
                        <a:buFontTx/>
                        <a:buNone/>
                      </a:pPr>
                      <a:endParaRPr lang="en-US" sz="2400" kern="1200" baseline="0" dirty="0" smtClean="0">
                        <a:solidFill>
                          <a:schemeClr val="tx1">
                            <a:alpha val="99000"/>
                          </a:schemeClr>
                        </a:solidFill>
                        <a:latin typeface="+mn-lt"/>
                        <a:ea typeface="+mn-ea"/>
                        <a:cs typeface="+mn-cs"/>
                      </a:endParaRPr>
                    </a:p>
                    <a:p>
                      <a:pPr marL="0" lvl="1" indent="0" algn="l" defTabSz="914363" rtl="0" eaLnBrk="1" latinLnBrk="0" hangingPunct="1">
                        <a:lnSpc>
                          <a:spcPct val="100000"/>
                        </a:lnSpc>
                        <a:spcBef>
                          <a:spcPts val="300"/>
                        </a:spcBef>
                        <a:buSzPct val="90000"/>
                        <a:buFontTx/>
                        <a:buNone/>
                      </a:pPr>
                      <a:r>
                        <a:rPr lang="en-US" sz="2400" kern="1200" baseline="0" dirty="0" smtClean="0">
                          <a:solidFill>
                            <a:schemeClr val="tx1">
                              <a:alpha val="99000"/>
                            </a:schemeClr>
                          </a:solidFill>
                          <a:latin typeface="+mn-lt"/>
                          <a:ea typeface="+mn-ea"/>
                          <a:cs typeface="+mn-cs"/>
                        </a:rPr>
                        <a:t>Fix problematic attach</a:t>
                      </a:r>
                      <a:endParaRPr lang="en-US" sz="2400" kern="1200" dirty="0" smtClean="0">
                        <a:solidFill>
                          <a:schemeClr val="tx1">
                            <a:alpha val="99000"/>
                          </a:schemeClr>
                        </a:solidFill>
                        <a:latin typeface="+mn-lt"/>
                        <a:ea typeface="+mn-ea"/>
                        <a:cs typeface="+mn-cs"/>
                      </a:endParaRPr>
                    </a:p>
                  </a:txBody>
                  <a:tcPr marL="93260" marR="93260" marT="55956" marB="55956">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9050" lvl="1" indent="0" algn="l" defTabSz="914363" rtl="0" eaLnBrk="1" latinLnBrk="0" hangingPunct="1">
                        <a:lnSpc>
                          <a:spcPct val="100000"/>
                        </a:lnSpc>
                        <a:spcBef>
                          <a:spcPts val="300"/>
                        </a:spcBef>
                        <a:buSzPct val="90000"/>
                        <a:buFontTx/>
                        <a:buNone/>
                      </a:pPr>
                      <a:endParaRPr lang="en-US" sz="2400" kern="1200" dirty="0" smtClean="0">
                        <a:solidFill>
                          <a:schemeClr val="tx1">
                            <a:alpha val="99000"/>
                          </a:schemeClr>
                        </a:solidFill>
                        <a:latin typeface="+mn-lt"/>
                        <a:ea typeface="+mn-ea"/>
                        <a:cs typeface="+mn-cs"/>
                      </a:endParaRPr>
                    </a:p>
                  </a:txBody>
                  <a:tcPr marL="93260" marR="93260" marT="55956" marB="55956">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905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New Site setup</a:t>
                      </a:r>
                    </a:p>
                    <a:p>
                      <a:pPr marL="1905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Migration</a:t>
                      </a:r>
                    </a:p>
                    <a:p>
                      <a:pPr marL="1905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Redeploy/Less</a:t>
                      </a:r>
                      <a:r>
                        <a:rPr lang="en-US" sz="2400" kern="1200" baseline="0" dirty="0" smtClean="0">
                          <a:solidFill>
                            <a:schemeClr val="tx1">
                              <a:alpha val="99000"/>
                            </a:schemeClr>
                          </a:solidFill>
                          <a:latin typeface="+mn-lt"/>
                          <a:ea typeface="+mn-ea"/>
                          <a:cs typeface="+mn-cs"/>
                        </a:rPr>
                        <a:t> of an issue with simplified hierarchies</a:t>
                      </a:r>
                      <a:endParaRPr lang="en-US" sz="2400" kern="1200" dirty="0" smtClean="0">
                        <a:solidFill>
                          <a:schemeClr val="tx1">
                            <a:alpha val="99000"/>
                          </a:schemeClr>
                        </a:solidFill>
                        <a:latin typeface="+mn-lt"/>
                        <a:ea typeface="+mn-ea"/>
                        <a:cs typeface="+mn-cs"/>
                      </a:endParaRPr>
                    </a:p>
                    <a:p>
                      <a:pPr marL="19050" lvl="1" indent="0" algn="l" defTabSz="914363" rtl="0" eaLnBrk="1" latinLnBrk="0" hangingPunct="1">
                        <a:lnSpc>
                          <a:spcPct val="100000"/>
                        </a:lnSpc>
                        <a:spcBef>
                          <a:spcPts val="300"/>
                        </a:spcBef>
                        <a:buSzPct val="90000"/>
                        <a:buFontTx/>
                        <a:buNone/>
                      </a:pPr>
                      <a:r>
                        <a:rPr lang="en-US" sz="2400" kern="1200" dirty="0" smtClean="0">
                          <a:solidFill>
                            <a:schemeClr val="tx1">
                              <a:alpha val="99000"/>
                            </a:schemeClr>
                          </a:solidFill>
                          <a:latin typeface="+mn-lt"/>
                          <a:ea typeface="+mn-ea"/>
                          <a:cs typeface="+mn-cs"/>
                        </a:rPr>
                        <a:t>N/A</a:t>
                      </a:r>
                    </a:p>
                  </a:txBody>
                  <a:tcPr marL="93260" marR="93260" marT="55956" marB="55956">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4" name="Freeform 13"/>
          <p:cNvSpPr>
            <a:spLocks/>
          </p:cNvSpPr>
          <p:nvPr>
            <p:custDataLst>
              <p:tags r:id="rId5"/>
            </p:custDataLst>
          </p:nvPr>
        </p:nvSpPr>
        <p:spPr bwMode="auto">
          <a:xfrm>
            <a:off x="5683834" y="2895059"/>
            <a:ext cx="217696" cy="188484"/>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5" name="Freeform 14"/>
          <p:cNvSpPr>
            <a:spLocks/>
          </p:cNvSpPr>
          <p:nvPr>
            <p:custDataLst>
              <p:tags r:id="rId6"/>
            </p:custDataLst>
          </p:nvPr>
        </p:nvSpPr>
        <p:spPr bwMode="auto">
          <a:xfrm>
            <a:off x="5683834" y="3271293"/>
            <a:ext cx="217696" cy="188484"/>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6" name="Freeform 15"/>
          <p:cNvSpPr>
            <a:spLocks/>
          </p:cNvSpPr>
          <p:nvPr>
            <p:custDataLst>
              <p:tags r:id="rId7"/>
            </p:custDataLst>
          </p:nvPr>
        </p:nvSpPr>
        <p:spPr bwMode="auto">
          <a:xfrm>
            <a:off x="5683834" y="4468727"/>
            <a:ext cx="217696" cy="188484"/>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7" name="Freeform 16"/>
          <p:cNvSpPr>
            <a:spLocks/>
          </p:cNvSpPr>
          <p:nvPr>
            <p:custDataLst>
              <p:tags r:id="rId8"/>
            </p:custDataLst>
          </p:nvPr>
        </p:nvSpPr>
        <p:spPr bwMode="auto">
          <a:xfrm>
            <a:off x="5683834" y="3678339"/>
            <a:ext cx="217696" cy="188484"/>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Tree>
    <p:extLst>
      <p:ext uri="{BB962C8B-B14F-4D97-AF65-F5344CB8AC3E}">
        <p14:creationId xmlns:p14="http://schemas.microsoft.com/office/powerpoint/2010/main" val="85064263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Between 2012 SP1 Hierarchies</a:t>
            </a:r>
            <a:endParaRPr lang="en-US" dirty="0"/>
          </a:p>
        </p:txBody>
      </p:sp>
      <p:sp>
        <p:nvSpPr>
          <p:cNvPr id="5" name="TextBox 4"/>
          <p:cNvSpPr txBox="1"/>
          <p:nvPr/>
        </p:nvSpPr>
        <p:spPr>
          <a:xfrm>
            <a:off x="1244353" y="1744662"/>
            <a:ext cx="2645619" cy="476479"/>
          </a:xfrm>
          <a:prstGeom prst="rect">
            <a:avLst/>
          </a:prstGeom>
          <a:noFill/>
        </p:spPr>
        <p:txBody>
          <a:bodyPr wrap="none" lIns="93260" tIns="93260" rIns="93260" bIns="93260" rtlCol="0">
            <a:spAutoFit/>
          </a:bodyPr>
          <a:lstStyle/>
          <a:p>
            <a:pPr>
              <a:lnSpc>
                <a:spcPct val="90000"/>
              </a:lnSpc>
              <a:spcBef>
                <a:spcPct val="20000"/>
              </a:spcBef>
              <a:buClr>
                <a:srgbClr val="84A8D8"/>
              </a:buClr>
              <a:buSzPct val="100000"/>
            </a:pPr>
            <a:r>
              <a:rPr lang="en-US" sz="2040" dirty="0"/>
              <a:t>ConfigMgr 2012 </a:t>
            </a:r>
            <a:r>
              <a:rPr lang="en-US" sz="2040" b="1" dirty="0"/>
              <a:t>SP1</a:t>
            </a:r>
          </a:p>
        </p:txBody>
      </p:sp>
      <p:sp>
        <p:nvSpPr>
          <p:cNvPr id="10" name="TextBox 9"/>
          <p:cNvSpPr txBox="1"/>
          <p:nvPr/>
        </p:nvSpPr>
        <p:spPr>
          <a:xfrm>
            <a:off x="7979363" y="1757980"/>
            <a:ext cx="2645619" cy="476479"/>
          </a:xfrm>
          <a:prstGeom prst="rect">
            <a:avLst/>
          </a:prstGeom>
          <a:noFill/>
        </p:spPr>
        <p:txBody>
          <a:bodyPr wrap="none" lIns="93260" tIns="93260" rIns="93260" bIns="93260" rtlCol="0">
            <a:spAutoFit/>
          </a:bodyPr>
          <a:lstStyle/>
          <a:p>
            <a:pPr>
              <a:lnSpc>
                <a:spcPct val="90000"/>
              </a:lnSpc>
              <a:spcBef>
                <a:spcPct val="20000"/>
              </a:spcBef>
              <a:buClr>
                <a:srgbClr val="84A8D8"/>
              </a:buClr>
              <a:buSzPct val="100000"/>
            </a:pPr>
            <a:r>
              <a:rPr lang="en-US" sz="2040" dirty="0"/>
              <a:t>ConfigMgr 2012 </a:t>
            </a:r>
            <a:r>
              <a:rPr lang="en-US" sz="2040" b="1" dirty="0"/>
              <a:t>SP1</a:t>
            </a:r>
          </a:p>
        </p:txBody>
      </p:sp>
      <p:sp>
        <p:nvSpPr>
          <p:cNvPr id="12" name="Right Arrow 11"/>
          <p:cNvSpPr/>
          <p:nvPr/>
        </p:nvSpPr>
        <p:spPr bwMode="auto">
          <a:xfrm>
            <a:off x="5078686" y="2923732"/>
            <a:ext cx="2678598" cy="466302"/>
          </a:xfrm>
          <a:prstGeom prst="rightArrow">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FFFFFF">
                    <a:alpha val="98824"/>
                  </a:srgbClr>
                </a:solidFill>
                <a:latin typeface="Segoe UI" pitchFamily="34" charset="0"/>
                <a:ea typeface="Segoe UI" pitchFamily="34" charset="0"/>
                <a:cs typeface="Segoe UI" pitchFamily="34" charset="0"/>
              </a:rPr>
              <a:t>Migrate</a:t>
            </a:r>
          </a:p>
        </p:txBody>
      </p:sp>
      <p:pic>
        <p:nvPicPr>
          <p:cNvPr id="11"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1881487" y="2280053"/>
            <a:ext cx="1119124" cy="892946"/>
          </a:xfrm>
          <a:prstGeom prst="rect">
            <a:avLst/>
          </a:prstGeom>
          <a:noFill/>
        </p:spPr>
      </p:pic>
      <p:sp>
        <p:nvSpPr>
          <p:cNvPr id="13" name="TextBox 12"/>
          <p:cNvSpPr txBox="1"/>
          <p:nvPr/>
        </p:nvSpPr>
        <p:spPr>
          <a:xfrm>
            <a:off x="1555221" y="3244799"/>
            <a:ext cx="1936448" cy="318286"/>
          </a:xfrm>
          <a:prstGeom prst="rect">
            <a:avLst/>
          </a:prstGeom>
          <a:noFill/>
          <a:ln>
            <a:noFill/>
          </a:ln>
        </p:spPr>
        <p:txBody>
          <a:bodyPr wrap="square" rtlCol="0">
            <a:spAutoFit/>
          </a:bodyPr>
          <a:lstStyle/>
          <a:p>
            <a:pPr algn="ctr"/>
            <a:r>
              <a:rPr lang="en-US" sz="1428" dirty="0">
                <a:solidFill>
                  <a:srgbClr val="FFFFFF"/>
                </a:solidFill>
              </a:rPr>
              <a:t>CAS</a:t>
            </a:r>
          </a:p>
        </p:txBody>
      </p:sp>
      <p:grpSp>
        <p:nvGrpSpPr>
          <p:cNvPr id="14" name="Group 13"/>
          <p:cNvGrpSpPr/>
          <p:nvPr/>
        </p:nvGrpSpPr>
        <p:grpSpPr>
          <a:xfrm>
            <a:off x="425875" y="3621483"/>
            <a:ext cx="1319001" cy="976929"/>
            <a:chOff x="3251999" y="4362188"/>
            <a:chExt cx="1293256" cy="957860"/>
          </a:xfrm>
        </p:grpSpPr>
        <p:pic>
          <p:nvPicPr>
            <p:cNvPr id="15"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524250" y="4362188"/>
              <a:ext cx="822960" cy="656638"/>
            </a:xfrm>
            <a:prstGeom prst="rect">
              <a:avLst/>
            </a:prstGeom>
            <a:noFill/>
          </p:spPr>
        </p:pic>
        <p:sp>
          <p:nvSpPr>
            <p:cNvPr id="16" name="TextBox 15"/>
            <p:cNvSpPr txBox="1"/>
            <p:nvPr/>
          </p:nvSpPr>
          <p:spPr>
            <a:xfrm>
              <a:off x="3251999" y="5007975"/>
              <a:ext cx="1293256" cy="312073"/>
            </a:xfrm>
            <a:prstGeom prst="rect">
              <a:avLst/>
            </a:prstGeom>
            <a:noFill/>
            <a:ln>
              <a:noFill/>
            </a:ln>
          </p:spPr>
          <p:txBody>
            <a:bodyPr wrap="square" rtlCol="0">
              <a:spAutoFit/>
            </a:bodyPr>
            <a:lstStyle/>
            <a:p>
              <a:pPr algn="ctr"/>
              <a:r>
                <a:rPr lang="en-US" sz="1428" dirty="0">
                  <a:solidFill>
                    <a:srgbClr val="FFFFFF"/>
                  </a:solidFill>
                </a:rPr>
                <a:t>Primary Site </a:t>
              </a:r>
            </a:p>
          </p:txBody>
        </p:sp>
      </p:grpSp>
      <p:grpSp>
        <p:nvGrpSpPr>
          <p:cNvPr id="17" name="Group 16"/>
          <p:cNvGrpSpPr/>
          <p:nvPr/>
        </p:nvGrpSpPr>
        <p:grpSpPr>
          <a:xfrm>
            <a:off x="3860544" y="3602771"/>
            <a:ext cx="1363727" cy="976929"/>
            <a:chOff x="7641162" y="4362188"/>
            <a:chExt cx="1337109" cy="957860"/>
          </a:xfrm>
        </p:grpSpPr>
        <p:pic>
          <p:nvPicPr>
            <p:cNvPr id="18"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7847012" y="4362188"/>
              <a:ext cx="822960" cy="656638"/>
            </a:xfrm>
            <a:prstGeom prst="rect">
              <a:avLst/>
            </a:prstGeom>
            <a:noFill/>
          </p:spPr>
        </p:pic>
        <p:sp>
          <p:nvSpPr>
            <p:cNvPr id="19" name="TextBox 18"/>
            <p:cNvSpPr txBox="1"/>
            <p:nvPr/>
          </p:nvSpPr>
          <p:spPr>
            <a:xfrm>
              <a:off x="7641162" y="5007975"/>
              <a:ext cx="1337109" cy="312073"/>
            </a:xfrm>
            <a:prstGeom prst="rect">
              <a:avLst/>
            </a:prstGeom>
            <a:noFill/>
            <a:ln>
              <a:noFill/>
            </a:ln>
          </p:spPr>
          <p:txBody>
            <a:bodyPr wrap="square" rtlCol="0">
              <a:spAutoFit/>
            </a:bodyPr>
            <a:lstStyle/>
            <a:p>
              <a:pPr algn="ctr"/>
              <a:r>
                <a:rPr lang="en-US" sz="1428" dirty="0">
                  <a:solidFill>
                    <a:srgbClr val="FFFFFF"/>
                  </a:solidFill>
                </a:rPr>
                <a:t>Primary Site </a:t>
              </a:r>
            </a:p>
          </p:txBody>
        </p:sp>
      </p:grpSp>
      <p:cxnSp>
        <p:nvCxnSpPr>
          <p:cNvPr id="20" name="Straight Arrow Connector 19"/>
          <p:cNvCxnSpPr/>
          <p:nvPr/>
        </p:nvCxnSpPr>
        <p:spPr>
          <a:xfrm flipH="1">
            <a:off x="1371129" y="3172998"/>
            <a:ext cx="900118" cy="429773"/>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2552448" y="3156883"/>
            <a:ext cx="1410589" cy="464600"/>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pic>
        <p:nvPicPr>
          <p:cNvPr id="24"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8613592" y="2263937"/>
            <a:ext cx="1119124" cy="892946"/>
          </a:xfrm>
          <a:prstGeom prst="rect">
            <a:avLst/>
          </a:prstGeom>
          <a:noFill/>
        </p:spPr>
      </p:pic>
      <p:sp>
        <p:nvSpPr>
          <p:cNvPr id="25" name="TextBox 24"/>
          <p:cNvSpPr txBox="1"/>
          <p:nvPr/>
        </p:nvSpPr>
        <p:spPr>
          <a:xfrm>
            <a:off x="8287326" y="3228684"/>
            <a:ext cx="1936448" cy="318286"/>
          </a:xfrm>
          <a:prstGeom prst="rect">
            <a:avLst/>
          </a:prstGeom>
          <a:noFill/>
          <a:ln>
            <a:noFill/>
          </a:ln>
        </p:spPr>
        <p:txBody>
          <a:bodyPr wrap="square" rtlCol="0">
            <a:spAutoFit/>
          </a:bodyPr>
          <a:lstStyle/>
          <a:p>
            <a:pPr algn="ctr"/>
            <a:r>
              <a:rPr lang="en-US" sz="1428" dirty="0">
                <a:solidFill>
                  <a:srgbClr val="FFFFFF"/>
                </a:solidFill>
              </a:rPr>
              <a:t>CAS</a:t>
            </a:r>
          </a:p>
        </p:txBody>
      </p:sp>
      <p:grpSp>
        <p:nvGrpSpPr>
          <p:cNvPr id="26" name="Group 25"/>
          <p:cNvGrpSpPr/>
          <p:nvPr/>
        </p:nvGrpSpPr>
        <p:grpSpPr>
          <a:xfrm>
            <a:off x="7157980" y="3605368"/>
            <a:ext cx="1319001" cy="976929"/>
            <a:chOff x="3251999" y="4362188"/>
            <a:chExt cx="1293256" cy="957860"/>
          </a:xfrm>
        </p:grpSpPr>
        <p:pic>
          <p:nvPicPr>
            <p:cNvPr id="27"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524250" y="4362188"/>
              <a:ext cx="822960" cy="656638"/>
            </a:xfrm>
            <a:prstGeom prst="rect">
              <a:avLst/>
            </a:prstGeom>
            <a:noFill/>
          </p:spPr>
        </p:pic>
        <p:sp>
          <p:nvSpPr>
            <p:cNvPr id="28" name="TextBox 27"/>
            <p:cNvSpPr txBox="1"/>
            <p:nvPr/>
          </p:nvSpPr>
          <p:spPr>
            <a:xfrm>
              <a:off x="3251999" y="5007975"/>
              <a:ext cx="1293256" cy="312073"/>
            </a:xfrm>
            <a:prstGeom prst="rect">
              <a:avLst/>
            </a:prstGeom>
            <a:noFill/>
            <a:ln>
              <a:noFill/>
            </a:ln>
          </p:spPr>
          <p:txBody>
            <a:bodyPr wrap="square" rtlCol="0">
              <a:spAutoFit/>
            </a:bodyPr>
            <a:lstStyle/>
            <a:p>
              <a:pPr algn="ctr"/>
              <a:r>
                <a:rPr lang="en-US" sz="1428" dirty="0">
                  <a:solidFill>
                    <a:srgbClr val="FFFFFF"/>
                  </a:solidFill>
                </a:rPr>
                <a:t>Primary Site </a:t>
              </a:r>
            </a:p>
          </p:txBody>
        </p:sp>
      </p:grpSp>
      <p:grpSp>
        <p:nvGrpSpPr>
          <p:cNvPr id="29" name="Group 28"/>
          <p:cNvGrpSpPr/>
          <p:nvPr/>
        </p:nvGrpSpPr>
        <p:grpSpPr>
          <a:xfrm>
            <a:off x="10592649" y="3586655"/>
            <a:ext cx="1363727" cy="976929"/>
            <a:chOff x="7641162" y="4362188"/>
            <a:chExt cx="1337109" cy="957860"/>
          </a:xfrm>
        </p:grpSpPr>
        <p:pic>
          <p:nvPicPr>
            <p:cNvPr id="30"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7847012" y="4362188"/>
              <a:ext cx="822960" cy="656638"/>
            </a:xfrm>
            <a:prstGeom prst="rect">
              <a:avLst/>
            </a:prstGeom>
            <a:noFill/>
          </p:spPr>
        </p:pic>
        <p:sp>
          <p:nvSpPr>
            <p:cNvPr id="31" name="TextBox 30"/>
            <p:cNvSpPr txBox="1"/>
            <p:nvPr/>
          </p:nvSpPr>
          <p:spPr>
            <a:xfrm>
              <a:off x="7641162" y="5007975"/>
              <a:ext cx="1337109" cy="312073"/>
            </a:xfrm>
            <a:prstGeom prst="rect">
              <a:avLst/>
            </a:prstGeom>
            <a:noFill/>
            <a:ln>
              <a:noFill/>
            </a:ln>
          </p:spPr>
          <p:txBody>
            <a:bodyPr wrap="square" rtlCol="0">
              <a:spAutoFit/>
            </a:bodyPr>
            <a:lstStyle/>
            <a:p>
              <a:pPr algn="ctr"/>
              <a:r>
                <a:rPr lang="en-US" sz="1428" dirty="0">
                  <a:solidFill>
                    <a:srgbClr val="FFFFFF"/>
                  </a:solidFill>
                </a:rPr>
                <a:t>Primary Site </a:t>
              </a:r>
            </a:p>
          </p:txBody>
        </p:sp>
      </p:grpSp>
      <p:cxnSp>
        <p:nvCxnSpPr>
          <p:cNvPr id="32" name="Straight Arrow Connector 31"/>
          <p:cNvCxnSpPr/>
          <p:nvPr/>
        </p:nvCxnSpPr>
        <p:spPr>
          <a:xfrm flipH="1">
            <a:off x="8103234" y="3156883"/>
            <a:ext cx="900118" cy="429773"/>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9284553" y="3140768"/>
            <a:ext cx="1410589" cy="464600"/>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p:nvGraphicFramePr>
        <p:xfrm>
          <a:off x="3483199" y="4752178"/>
          <a:ext cx="5801354" cy="1627026"/>
        </p:xfrm>
        <a:graphic>
          <a:graphicData uri="http://schemas.openxmlformats.org/drawingml/2006/table">
            <a:tbl>
              <a:tblPr firstRow="1" bandRow="1">
                <a:tableStyleId>{21E4AEA4-8DFA-4A89-87EB-49C32662AFE0}</a:tableStyleId>
              </a:tblPr>
              <a:tblGrid>
                <a:gridCol w="5801354"/>
              </a:tblGrid>
              <a:tr h="310868">
                <a:tc>
                  <a:txBody>
                    <a:bodyPr/>
                    <a:lstStyle/>
                    <a:p>
                      <a:r>
                        <a:rPr lang="en-US" sz="1400" dirty="0" smtClean="0"/>
                        <a:t>New</a:t>
                      </a:r>
                      <a:r>
                        <a:rPr lang="en-US" sz="1400" baseline="0" dirty="0" smtClean="0"/>
                        <a:t> objects</a:t>
                      </a:r>
                      <a:endParaRPr lang="en-US" sz="1400" dirty="0"/>
                    </a:p>
                  </a:txBody>
                  <a:tcPr marL="124314" marR="124314" marT="46630" marB="46630"/>
                </a:tc>
              </a:tr>
              <a:tr h="383554">
                <a:tc>
                  <a:txBody>
                    <a:bodyPr/>
                    <a:lstStyle/>
                    <a:p>
                      <a:r>
                        <a:rPr lang="en-US" sz="1400" dirty="0" smtClean="0"/>
                        <a:t>Migrate</a:t>
                      </a:r>
                      <a:r>
                        <a:rPr lang="en-US" sz="1400" baseline="0" dirty="0" smtClean="0"/>
                        <a:t> collection using object migration</a:t>
                      </a:r>
                      <a:endParaRPr lang="en-US" sz="1400" dirty="0"/>
                    </a:p>
                  </a:txBody>
                  <a:tcPr marL="124314" marR="124314" marT="46630" marB="46630"/>
                </a:tc>
              </a:tr>
              <a:tr h="310868">
                <a:tc>
                  <a:txBody>
                    <a:bodyPr/>
                    <a:lstStyle/>
                    <a:p>
                      <a:r>
                        <a:rPr lang="en-US" sz="1400" dirty="0" smtClean="0"/>
                        <a:t>Application</a:t>
                      </a:r>
                      <a:r>
                        <a:rPr lang="en-US" sz="1400" baseline="0" dirty="0" smtClean="0"/>
                        <a:t> Migration</a:t>
                      </a:r>
                      <a:endParaRPr lang="en-US" sz="1400" dirty="0"/>
                    </a:p>
                  </a:txBody>
                  <a:tcPr marL="124314" marR="124314" marT="46630" marB="46630"/>
                </a:tc>
              </a:tr>
              <a:tr h="310868">
                <a:tc>
                  <a:txBody>
                    <a:bodyPr/>
                    <a:lstStyle/>
                    <a:p>
                      <a:r>
                        <a:rPr lang="en-US" altLang="zh-CN" sz="1400" dirty="0" smtClean="0"/>
                        <a:t>App-V </a:t>
                      </a:r>
                      <a:r>
                        <a:rPr lang="en-US" sz="1400" dirty="0" smtClean="0"/>
                        <a:t>Virtual Environment Migration</a:t>
                      </a:r>
                      <a:endParaRPr lang="en-US" sz="1400" dirty="0"/>
                    </a:p>
                  </a:txBody>
                  <a:tcPr marL="124314" marR="124314" marT="46630" marB="46630"/>
                </a:tc>
              </a:tr>
              <a:tr h="310868">
                <a:tc>
                  <a:txBody>
                    <a:bodyPr/>
                    <a:lstStyle/>
                    <a:p>
                      <a:r>
                        <a:rPr lang="en-US" sz="1400" dirty="0" smtClean="0"/>
                        <a:t>Saved Search Migration</a:t>
                      </a:r>
                      <a:endParaRPr lang="en-US" sz="1400" dirty="0"/>
                    </a:p>
                  </a:txBody>
                  <a:tcPr marL="124314" marR="124314" marT="46630" marB="46630"/>
                </a:tc>
              </a:tr>
            </a:tbl>
          </a:graphicData>
        </a:graphic>
      </p:graphicFrame>
    </p:spTree>
    <p:extLst>
      <p:ext uri="{BB962C8B-B14F-4D97-AF65-F5344CB8AC3E}">
        <p14:creationId xmlns:p14="http://schemas.microsoft.com/office/powerpoint/2010/main" val="290308251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Flexibility In Setup</a:t>
            </a:r>
            <a:endParaRPr lang="en-US" dirty="0"/>
          </a:p>
        </p:txBody>
      </p:sp>
      <p:sp>
        <p:nvSpPr>
          <p:cNvPr id="3" name="Text Placeholder 2"/>
          <p:cNvSpPr>
            <a:spLocks noGrp="1"/>
          </p:cNvSpPr>
          <p:nvPr>
            <p:ph sz="quarter" idx="10"/>
          </p:nvPr>
        </p:nvSpPr>
        <p:spPr>
          <a:xfrm>
            <a:off x="274638" y="1214438"/>
            <a:ext cx="11887200" cy="1822037"/>
          </a:xfrm>
        </p:spPr>
        <p:txBody>
          <a:bodyPr/>
          <a:lstStyle/>
          <a:p>
            <a:r>
              <a:rPr lang="en-US" dirty="0"/>
              <a:t>Specify </a:t>
            </a:r>
            <a:r>
              <a:rPr lang="en-US" dirty="0" smtClean="0"/>
              <a:t>locations </a:t>
            </a:r>
            <a:r>
              <a:rPr lang="en-US" dirty="0"/>
              <a:t>for database and transaction log</a:t>
            </a:r>
          </a:p>
          <a:p>
            <a:r>
              <a:rPr lang="en-US" dirty="0"/>
              <a:t>Restore to a different SQL Server instance</a:t>
            </a:r>
          </a:p>
          <a:p>
            <a:pPr lvl="1"/>
            <a:r>
              <a:rPr lang="en-US" dirty="0"/>
              <a:t>Requires same SQL Server version</a:t>
            </a:r>
          </a:p>
        </p:txBody>
      </p:sp>
      <p:pic>
        <p:nvPicPr>
          <p:cNvPr id="4" name="Picture 3"/>
          <p:cNvPicPr>
            <a:picLocks noChangeAspect="1"/>
          </p:cNvPicPr>
          <p:nvPr/>
        </p:nvPicPr>
        <p:blipFill>
          <a:blip r:embed="rId2"/>
          <a:stretch>
            <a:fillRect/>
          </a:stretch>
        </p:blipFill>
        <p:spPr>
          <a:xfrm>
            <a:off x="5894387" y="2786509"/>
            <a:ext cx="4747310" cy="3596829"/>
          </a:xfrm>
          <a:prstGeom prst="rect">
            <a:avLst/>
          </a:prstGeom>
        </p:spPr>
      </p:pic>
      <p:grpSp>
        <p:nvGrpSpPr>
          <p:cNvPr id="6" name="Group 5"/>
          <p:cNvGrpSpPr/>
          <p:nvPr/>
        </p:nvGrpSpPr>
        <p:grpSpPr>
          <a:xfrm>
            <a:off x="117025" y="3850224"/>
            <a:ext cx="5934975" cy="1719365"/>
            <a:chOff x="7846724" y="688776"/>
            <a:chExt cx="5890269" cy="1709909"/>
          </a:xfrm>
        </p:grpSpPr>
        <p:sp>
          <p:nvSpPr>
            <p:cNvPr id="8" name="Explosion 2 7"/>
            <p:cNvSpPr/>
            <p:nvPr/>
          </p:nvSpPr>
          <p:spPr bwMode="auto">
            <a:xfrm rot="329436">
              <a:off x="7846724" y="688776"/>
              <a:ext cx="5890269" cy="1709909"/>
            </a:xfrm>
            <a:prstGeom prst="irregularSeal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Box 8"/>
            <p:cNvSpPr txBox="1"/>
            <p:nvPr/>
          </p:nvSpPr>
          <p:spPr>
            <a:xfrm>
              <a:off x="8772569" y="1100470"/>
              <a:ext cx="3836839"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ew in </a:t>
              </a:r>
              <a:r>
                <a:rPr lang="en-US" sz="2000" dirty="0" err="1" smtClean="0">
                  <a:gradFill>
                    <a:gsLst>
                      <a:gs pos="2917">
                        <a:schemeClr val="tx1"/>
                      </a:gs>
                      <a:gs pos="30000">
                        <a:schemeClr val="tx1"/>
                      </a:gs>
                    </a:gsLst>
                    <a:lin ang="5400000" scaled="0"/>
                  </a:gradFill>
                </a:rPr>
                <a:t>ConfigMgr</a:t>
              </a:r>
              <a:r>
                <a:rPr lang="en-US" sz="2000" dirty="0" smtClean="0">
                  <a:gradFill>
                    <a:gsLst>
                      <a:gs pos="2917">
                        <a:schemeClr val="tx1"/>
                      </a:gs>
                      <a:gs pos="30000">
                        <a:schemeClr val="tx1"/>
                      </a:gs>
                    </a:gsLst>
                    <a:lin ang="5400000" scaled="0"/>
                  </a:gradFill>
                </a:rPr>
                <a:t> 2012 R2 and Next Major </a:t>
              </a:r>
              <a:r>
                <a:rPr lang="en-US" sz="2000" dirty="0" err="1" smtClean="0">
                  <a:gradFill>
                    <a:gsLst>
                      <a:gs pos="2917">
                        <a:schemeClr val="tx1"/>
                      </a:gs>
                      <a:gs pos="30000">
                        <a:schemeClr val="tx1"/>
                      </a:gs>
                    </a:gsLst>
                    <a:lin ang="5400000" scaled="0"/>
                  </a:gradFill>
                </a:rPr>
                <a:t>Intune</a:t>
              </a:r>
              <a:r>
                <a:rPr lang="en-US" sz="2000" dirty="0" smtClean="0">
                  <a:gradFill>
                    <a:gsLst>
                      <a:gs pos="2917">
                        <a:schemeClr val="tx1"/>
                      </a:gs>
                      <a:gs pos="30000">
                        <a:schemeClr val="tx1"/>
                      </a:gs>
                    </a:gsLst>
                    <a:lin ang="5400000" scaled="0"/>
                  </a:gradFill>
                </a:rPr>
                <a:t> version</a:t>
              </a:r>
            </a:p>
          </p:txBody>
        </p:sp>
      </p:grpSp>
    </p:spTree>
    <p:extLst>
      <p:ext uri="{BB962C8B-B14F-4D97-AF65-F5344CB8AC3E}">
        <p14:creationId xmlns:p14="http://schemas.microsoft.com/office/powerpoint/2010/main" val="413876193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328057" y="2405744"/>
            <a:ext cx="10493829" cy="302622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xpansion and Migration</a:t>
            </a:r>
            <a:endParaRPr lang="en-US" dirty="0"/>
          </a:p>
        </p:txBody>
      </p:sp>
      <p:grpSp>
        <p:nvGrpSpPr>
          <p:cNvPr id="8" name="Group 7"/>
          <p:cNvGrpSpPr/>
          <p:nvPr/>
        </p:nvGrpSpPr>
        <p:grpSpPr>
          <a:xfrm>
            <a:off x="1739849" y="2634312"/>
            <a:ext cx="2624697" cy="935959"/>
            <a:chOff x="8913812" y="5410200"/>
            <a:chExt cx="2573466" cy="917691"/>
          </a:xfrm>
        </p:grpSpPr>
        <p:pic>
          <p:nvPicPr>
            <p:cNvPr id="9" name="Picture 8"/>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32960"/>
            <a:stretch/>
          </p:blipFill>
          <p:spPr bwMode="auto">
            <a:xfrm>
              <a:off x="8913812" y="5410200"/>
              <a:ext cx="674312" cy="915657"/>
            </a:xfrm>
            <a:prstGeom prst="rect">
              <a:avLst/>
            </a:prstGeom>
            <a:noFill/>
            <a:ln>
              <a:noFill/>
            </a:ln>
          </p:spPr>
        </p:pic>
        <p:sp>
          <p:nvSpPr>
            <p:cNvPr id="10" name="TextBox 9"/>
            <p:cNvSpPr txBox="1"/>
            <p:nvPr/>
          </p:nvSpPr>
          <p:spPr>
            <a:xfrm>
              <a:off x="9675811" y="5683362"/>
              <a:ext cx="1811467" cy="644529"/>
            </a:xfrm>
            <a:prstGeom prst="rect">
              <a:avLst/>
            </a:prstGeom>
            <a:noFill/>
          </p:spPr>
          <p:txBody>
            <a:bodyPr wrap="square" rtlCol="0">
              <a:spAutoFit/>
            </a:bodyPr>
            <a:lstStyle/>
            <a:p>
              <a:r>
                <a:rPr lang="en-US" sz="1836" dirty="0">
                  <a:solidFill>
                    <a:srgbClr val="FFFFFF"/>
                  </a:solidFill>
                </a:rPr>
                <a:t>Primary </a:t>
              </a:r>
              <a:r>
                <a:rPr lang="en-US" sz="1836" dirty="0" smtClean="0">
                  <a:solidFill>
                    <a:srgbClr val="FFFFFF"/>
                  </a:solidFill>
                </a:rPr>
                <a:t>Site (40,000 clients)</a:t>
              </a:r>
              <a:endParaRPr lang="en-US" sz="1836" dirty="0">
                <a:solidFill>
                  <a:srgbClr val="FFFFFF"/>
                </a:solidFill>
              </a:endParaRPr>
            </a:p>
          </p:txBody>
        </p:sp>
      </p:grpSp>
      <p:grpSp>
        <p:nvGrpSpPr>
          <p:cNvPr id="11" name="Group 10"/>
          <p:cNvGrpSpPr/>
          <p:nvPr/>
        </p:nvGrpSpPr>
        <p:grpSpPr>
          <a:xfrm>
            <a:off x="6747795" y="2608447"/>
            <a:ext cx="2496761" cy="935959"/>
            <a:chOff x="3371787" y="1446543"/>
            <a:chExt cx="2448027" cy="917691"/>
          </a:xfrm>
        </p:grpSpPr>
        <p:pic>
          <p:nvPicPr>
            <p:cNvPr id="12" name="Picture 11"/>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32960"/>
            <a:stretch/>
          </p:blipFill>
          <p:spPr bwMode="auto">
            <a:xfrm>
              <a:off x="3371787" y="1446543"/>
              <a:ext cx="674312" cy="915657"/>
            </a:xfrm>
            <a:prstGeom prst="rect">
              <a:avLst/>
            </a:prstGeom>
            <a:noFill/>
            <a:ln>
              <a:noFill/>
            </a:ln>
          </p:spPr>
        </p:pic>
        <p:sp>
          <p:nvSpPr>
            <p:cNvPr id="13" name="TextBox 12"/>
            <p:cNvSpPr txBox="1"/>
            <p:nvPr/>
          </p:nvSpPr>
          <p:spPr>
            <a:xfrm>
              <a:off x="4133787" y="1719705"/>
              <a:ext cx="1686027" cy="644529"/>
            </a:xfrm>
            <a:prstGeom prst="rect">
              <a:avLst/>
            </a:prstGeom>
            <a:noFill/>
          </p:spPr>
          <p:txBody>
            <a:bodyPr wrap="square" rtlCol="0">
              <a:spAutoFit/>
            </a:bodyPr>
            <a:lstStyle/>
            <a:p>
              <a:r>
                <a:rPr lang="en-US" sz="1836" dirty="0">
                  <a:solidFill>
                    <a:srgbClr val="FFFFFF"/>
                  </a:solidFill>
                </a:rPr>
                <a:t>Primary </a:t>
              </a:r>
              <a:r>
                <a:rPr lang="en-US" sz="1836" dirty="0" smtClean="0">
                  <a:solidFill>
                    <a:srgbClr val="FFFFFF"/>
                  </a:solidFill>
                </a:rPr>
                <a:t>Site (80,000 clients)</a:t>
              </a:r>
              <a:endParaRPr lang="en-US" sz="1836" dirty="0">
                <a:solidFill>
                  <a:srgbClr val="FFFFFF"/>
                </a:solidFill>
              </a:endParaRPr>
            </a:p>
          </p:txBody>
        </p:sp>
      </p:grpSp>
      <p:grpSp>
        <p:nvGrpSpPr>
          <p:cNvPr id="14" name="Group 13"/>
          <p:cNvGrpSpPr/>
          <p:nvPr/>
        </p:nvGrpSpPr>
        <p:grpSpPr>
          <a:xfrm>
            <a:off x="6747795" y="2515139"/>
            <a:ext cx="3149091" cy="1027193"/>
            <a:chOff x="4364546" y="2773362"/>
            <a:chExt cx="3149091" cy="1027193"/>
          </a:xfrm>
        </p:grpSpPr>
        <p:pic>
          <p:nvPicPr>
            <p:cNvPr id="15" name="Picture 14"/>
            <p:cNvPicPr>
              <a:picLocks noChangeAspect="1" noChangeArrowheads="1"/>
            </p:cNvPicPr>
            <p:nvPr/>
          </p:nvPicPr>
          <p:blipFill rotWithShape="1">
            <a:blip r:embed="rId5" cstate="print">
              <a:biLevel thresh="25000"/>
              <a:extLst>
                <a:ext uri="{28A0092B-C50C-407E-A947-70E740481C1C}">
                  <a14:useLocalDpi xmlns:a14="http://schemas.microsoft.com/office/drawing/2010/main" val="0"/>
                </a:ext>
              </a:extLst>
            </a:blip>
            <a:stretch/>
          </p:blipFill>
          <p:spPr bwMode="auto">
            <a:xfrm>
              <a:off x="4364546" y="2773362"/>
              <a:ext cx="1128450" cy="1025864"/>
            </a:xfrm>
            <a:prstGeom prst="rect">
              <a:avLst/>
            </a:prstGeom>
            <a:noFill/>
            <a:ln>
              <a:noFill/>
            </a:ln>
          </p:spPr>
        </p:pic>
        <p:sp>
          <p:nvSpPr>
            <p:cNvPr id="16" name="TextBox 15"/>
            <p:cNvSpPr txBox="1"/>
            <p:nvPr/>
          </p:nvSpPr>
          <p:spPr>
            <a:xfrm>
              <a:off x="5525251" y="2841972"/>
              <a:ext cx="1988386" cy="958583"/>
            </a:xfrm>
            <a:prstGeom prst="rect">
              <a:avLst/>
            </a:prstGeom>
            <a:noFill/>
          </p:spPr>
          <p:txBody>
            <a:bodyPr wrap="square" rtlCol="0">
              <a:spAutoFit/>
            </a:bodyPr>
            <a:lstStyle/>
            <a:p>
              <a:r>
                <a:rPr lang="en-US" sz="1836" dirty="0">
                  <a:solidFill>
                    <a:srgbClr val="FFFFFF"/>
                  </a:solidFill>
                </a:rPr>
                <a:t>Central Administration Site</a:t>
              </a:r>
            </a:p>
          </p:txBody>
        </p:sp>
      </p:grpSp>
      <p:cxnSp>
        <p:nvCxnSpPr>
          <p:cNvPr id="17" name="Straight Connector 16"/>
          <p:cNvCxnSpPr/>
          <p:nvPr/>
        </p:nvCxnSpPr>
        <p:spPr>
          <a:xfrm flipH="1" flipV="1">
            <a:off x="7732645" y="3524383"/>
            <a:ext cx="872563" cy="634421"/>
          </a:xfrm>
          <a:prstGeom prst="line">
            <a:avLst/>
          </a:prstGeom>
          <a:noFill/>
          <a:ln w="38100" cap="rnd" cmpd="sng" algn="ctr">
            <a:solidFill>
              <a:schemeClr val="tx1"/>
            </a:solidFill>
            <a:prstDash val="sysDot"/>
            <a:headEnd type="none"/>
            <a:tailEnd type="triangle" w="med" len="med"/>
          </a:ln>
          <a:effectLst/>
        </p:spPr>
      </p:cxnSp>
      <p:grpSp>
        <p:nvGrpSpPr>
          <p:cNvPr id="18" name="Group 17"/>
          <p:cNvGrpSpPr/>
          <p:nvPr/>
        </p:nvGrpSpPr>
        <p:grpSpPr>
          <a:xfrm>
            <a:off x="4364546" y="2583749"/>
            <a:ext cx="2264402" cy="657843"/>
            <a:chOff x="4364546" y="2583749"/>
            <a:chExt cx="2264402" cy="657843"/>
          </a:xfrm>
        </p:grpSpPr>
        <p:cxnSp>
          <p:nvCxnSpPr>
            <p:cNvPr id="19" name="Straight Connector 18"/>
            <p:cNvCxnSpPr>
              <a:stCxn id="10" idx="3"/>
            </p:cNvCxnSpPr>
            <p:nvPr/>
          </p:nvCxnSpPr>
          <p:spPr>
            <a:xfrm flipV="1">
              <a:off x="4364546" y="3101254"/>
              <a:ext cx="2264402" cy="140338"/>
            </a:xfrm>
            <a:prstGeom prst="line">
              <a:avLst/>
            </a:prstGeom>
            <a:noFill/>
            <a:ln w="38100" cap="rnd" cmpd="sng" algn="ctr">
              <a:solidFill>
                <a:schemeClr val="tx1"/>
              </a:solidFill>
              <a:prstDash val="sysDot"/>
              <a:headEnd type="none"/>
              <a:tailEnd type="triangle" w="med" len="med"/>
            </a:ln>
            <a:effectLst/>
          </p:spPr>
        </p:cxnSp>
        <p:sp>
          <p:nvSpPr>
            <p:cNvPr id="20" name="TextBox 19"/>
            <p:cNvSpPr txBox="1"/>
            <p:nvPr/>
          </p:nvSpPr>
          <p:spPr>
            <a:xfrm>
              <a:off x="4546200" y="2583749"/>
              <a:ext cx="1549265"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solidFill>
                    <a:srgbClr val="FFFF00"/>
                  </a:solidFill>
                </a:rPr>
                <a:t>Migration</a:t>
              </a:r>
            </a:p>
          </p:txBody>
        </p:sp>
      </p:grpSp>
      <p:grpSp>
        <p:nvGrpSpPr>
          <p:cNvPr id="21" name="Group 20"/>
          <p:cNvGrpSpPr/>
          <p:nvPr/>
        </p:nvGrpSpPr>
        <p:grpSpPr>
          <a:xfrm>
            <a:off x="5206689" y="3541003"/>
            <a:ext cx="2814187" cy="1721045"/>
            <a:chOff x="5206689" y="3541003"/>
            <a:chExt cx="2814187" cy="1721045"/>
          </a:xfrm>
        </p:grpSpPr>
        <p:cxnSp>
          <p:nvCxnSpPr>
            <p:cNvPr id="22" name="Straight Connector 21"/>
            <p:cNvCxnSpPr/>
            <p:nvPr/>
          </p:nvCxnSpPr>
          <p:spPr>
            <a:xfrm flipH="1">
              <a:off x="5659595" y="3541003"/>
              <a:ext cx="859445" cy="649433"/>
            </a:xfrm>
            <a:prstGeom prst="line">
              <a:avLst/>
            </a:prstGeom>
            <a:noFill/>
            <a:ln w="38100" cap="rnd" cmpd="sng" algn="ctr">
              <a:solidFill>
                <a:schemeClr val="tx1"/>
              </a:solidFill>
              <a:prstDash val="sysDot"/>
              <a:headEnd type="none"/>
              <a:tailEnd type="triangle" w="med" len="med"/>
            </a:ln>
            <a:effectLst/>
          </p:spPr>
        </p:cxnSp>
        <p:grpSp>
          <p:nvGrpSpPr>
            <p:cNvPr id="23" name="Group 22"/>
            <p:cNvGrpSpPr/>
            <p:nvPr/>
          </p:nvGrpSpPr>
          <p:grpSpPr>
            <a:xfrm>
              <a:off x="5206689" y="4328163"/>
              <a:ext cx="2814187" cy="933885"/>
              <a:chOff x="8913812" y="5410200"/>
              <a:chExt cx="2759258" cy="915657"/>
            </a:xfrm>
          </p:grpSpPr>
          <p:pic>
            <p:nvPicPr>
              <p:cNvPr id="24" name="Picture 23"/>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32960"/>
              <a:stretch/>
            </p:blipFill>
            <p:spPr bwMode="auto">
              <a:xfrm>
                <a:off x="8913812" y="5410200"/>
                <a:ext cx="674312" cy="915657"/>
              </a:xfrm>
              <a:prstGeom prst="rect">
                <a:avLst/>
              </a:prstGeom>
              <a:noFill/>
              <a:ln>
                <a:noFill/>
              </a:ln>
            </p:spPr>
          </p:pic>
          <p:sp>
            <p:nvSpPr>
              <p:cNvPr id="25" name="TextBox 24"/>
              <p:cNvSpPr txBox="1"/>
              <p:nvPr/>
            </p:nvSpPr>
            <p:spPr>
              <a:xfrm>
                <a:off x="9675811" y="5683362"/>
                <a:ext cx="1997259" cy="367530"/>
              </a:xfrm>
              <a:prstGeom prst="rect">
                <a:avLst/>
              </a:prstGeom>
              <a:noFill/>
            </p:spPr>
            <p:txBody>
              <a:bodyPr wrap="square" rtlCol="0">
                <a:spAutoFit/>
              </a:bodyPr>
              <a:lstStyle/>
              <a:p>
                <a:r>
                  <a:rPr lang="en-US" sz="1836" dirty="0" smtClean="0">
                    <a:solidFill>
                      <a:srgbClr val="FFFFFF"/>
                    </a:solidFill>
                  </a:rPr>
                  <a:t>New Primary Site</a:t>
                </a:r>
                <a:endParaRPr lang="en-US" sz="1836" dirty="0">
                  <a:solidFill>
                    <a:srgbClr val="FFFFFF"/>
                  </a:solidFill>
                </a:endParaRPr>
              </a:p>
            </p:txBody>
          </p:sp>
        </p:grpSp>
      </p:grpSp>
    </p:spTree>
    <p:extLst>
      <p:ext uri="{BB962C8B-B14F-4D97-AF65-F5344CB8AC3E}">
        <p14:creationId xmlns:p14="http://schemas.microsoft.com/office/powerpoint/2010/main" val="13863840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50" presetClass="path" presetSubtype="0" accel="50000" decel="50000" fill="hold" nodeType="clickEffect">
                                  <p:stCondLst>
                                    <p:cond delay="0"/>
                                  </p:stCondLst>
                                  <p:childTnLst>
                                    <p:animMotion origin="layout" path="M 3.44396E-6 -4.74353E-6 L 0.07454 -4.74353E-6 C 0.10799 -4.74353E-6 0.14935 0.06741 0.14935 0.12234 L 0.14935 0.24467 " pathEditMode="relative" rAng="0" ptsTypes="AAAA">
                                      <p:cBhvr>
                                        <p:cTn id="18" dur="2000" fill="hold"/>
                                        <p:tgtEl>
                                          <p:spTgt spid="11"/>
                                        </p:tgtEl>
                                        <p:attrNameLst>
                                          <p:attrName>ppt_x</p:attrName>
                                          <p:attrName>ppt_y</p:attrName>
                                        </p:attrNameLst>
                                      </p:cBhvr>
                                      <p:rCtr x="7467" y="12233"/>
                                    </p:animMotion>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par>
                          <p:cTn id="23" fill="hold">
                            <p:stCondLst>
                              <p:cond delay="2500"/>
                            </p:stCondLst>
                            <p:childTnLst>
                              <p:par>
                                <p:cTn id="24" presetID="1" presetClass="entr" presetSubtype="0" fill="hold" nodeType="afterEffect">
                                  <p:stCondLst>
                                    <p:cond delay="0"/>
                                  </p:stCondLst>
                                  <p:childTnLst>
                                    <p:set>
                                      <p:cBhvr>
                                        <p:cTn id="25" dur="1" fill="hold">
                                          <p:stCondLst>
                                            <p:cond delay="0"/>
                                          </p:stCondLst>
                                        </p:cTn>
                                        <p:tgtEl>
                                          <p:spTgt spid="14"/>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8"/>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21"/>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nodeType="clickEffect">
                                  <p:stCondLst>
                                    <p:cond delay="0"/>
                                  </p:stCondLst>
                                  <p:childTnLst>
                                    <p:set>
                                      <p:cBhvr>
                                        <p:cTn id="37" dur="1" fill="hold">
                                          <p:stCondLst>
                                            <p:cond delay="0"/>
                                          </p:stCondLst>
                                        </p:cTn>
                                        <p:tgtEl>
                                          <p:spTgt spid="8"/>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asy Client Mobility</a:t>
            </a:r>
            <a:endParaRPr lang="en-US" dirty="0"/>
          </a:p>
        </p:txBody>
      </p:sp>
      <p:sp>
        <p:nvSpPr>
          <p:cNvPr id="3" name="Text Placeholder 2"/>
          <p:cNvSpPr>
            <a:spLocks noGrp="1"/>
          </p:cNvSpPr>
          <p:nvPr>
            <p:ph type="body" sz="quarter" idx="10"/>
          </p:nvPr>
        </p:nvSpPr>
        <p:spPr>
          <a:xfrm>
            <a:off x="274638" y="1212850"/>
            <a:ext cx="11887200" cy="5447645"/>
          </a:xfrm>
        </p:spPr>
        <p:txBody>
          <a:bodyPr/>
          <a:lstStyle/>
          <a:p>
            <a:r>
              <a:rPr lang="en-US" b="1" dirty="0" smtClean="0">
                <a:latin typeface="+mj-lt"/>
              </a:rPr>
              <a:t>Scenario:</a:t>
            </a:r>
            <a:r>
              <a:rPr lang="en-US" dirty="0" smtClean="0">
                <a:latin typeface="+mj-lt"/>
              </a:rPr>
              <a:t> I installed a new primary site in my hierarchy and would like to move some or all of the clients from an existing site to the new site (e.g. load-balancing, server replacement).</a:t>
            </a:r>
          </a:p>
          <a:p>
            <a:endParaRPr lang="en-US" dirty="0" smtClean="0">
              <a:latin typeface="+mj-lt"/>
            </a:endParaRPr>
          </a:p>
          <a:p>
            <a:r>
              <a:rPr lang="en-US" b="1" dirty="0" smtClean="0">
                <a:latin typeface="+mj-lt"/>
              </a:rPr>
              <a:t>Solution:</a:t>
            </a:r>
            <a:r>
              <a:rPr lang="en-US" dirty="0" smtClean="0">
                <a:latin typeface="+mj-lt"/>
              </a:rPr>
              <a:t> Client reassignment</a:t>
            </a:r>
          </a:p>
          <a:p>
            <a:pPr lvl="1"/>
            <a:r>
              <a:rPr lang="en-US" dirty="0" smtClean="0">
                <a:latin typeface="+mj-lt"/>
              </a:rPr>
              <a:t>Supports single or multi-select client reassignment</a:t>
            </a:r>
          </a:p>
          <a:p>
            <a:pPr lvl="1"/>
            <a:r>
              <a:rPr lang="en-US" dirty="0" smtClean="0">
                <a:latin typeface="+mj-lt"/>
              </a:rPr>
              <a:t>Enforces proper client/site versioning</a:t>
            </a:r>
          </a:p>
          <a:p>
            <a:pPr lvl="1"/>
            <a:r>
              <a:rPr lang="en-US" dirty="0" smtClean="0">
                <a:latin typeface="+mj-lt"/>
              </a:rPr>
              <a:t>Uses standard client policy channel (no client notification)</a:t>
            </a:r>
            <a:endParaRPr lang="en-US" dirty="0">
              <a:latin typeface="+mj-lt"/>
            </a:endParaRPr>
          </a:p>
          <a:p>
            <a:r>
              <a:rPr lang="en-US" i="1" dirty="0" smtClean="0">
                <a:latin typeface="+mj-lt"/>
              </a:rPr>
              <a:t>Note: This will not work for disaster recovery scenarios.</a:t>
            </a:r>
          </a:p>
        </p:txBody>
      </p:sp>
      <p:grpSp>
        <p:nvGrpSpPr>
          <p:cNvPr id="6" name="Group 5"/>
          <p:cNvGrpSpPr/>
          <p:nvPr/>
        </p:nvGrpSpPr>
        <p:grpSpPr>
          <a:xfrm>
            <a:off x="6743481" y="3272950"/>
            <a:ext cx="5890269" cy="1709909"/>
            <a:chOff x="7846724" y="688776"/>
            <a:chExt cx="5890269" cy="1709909"/>
          </a:xfrm>
        </p:grpSpPr>
        <p:sp>
          <p:nvSpPr>
            <p:cNvPr id="7" name="Explosion 2 6"/>
            <p:cNvSpPr/>
            <p:nvPr/>
          </p:nvSpPr>
          <p:spPr bwMode="auto">
            <a:xfrm rot="329436">
              <a:off x="7846724" y="688776"/>
              <a:ext cx="5890269" cy="1709909"/>
            </a:xfrm>
            <a:prstGeom prst="irregularSeal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8772569" y="1100470"/>
              <a:ext cx="3836839"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ew in </a:t>
              </a:r>
              <a:r>
                <a:rPr lang="en-US" sz="2000" dirty="0" err="1" smtClean="0">
                  <a:gradFill>
                    <a:gsLst>
                      <a:gs pos="2917">
                        <a:schemeClr val="tx1"/>
                      </a:gs>
                      <a:gs pos="30000">
                        <a:schemeClr val="tx1"/>
                      </a:gs>
                    </a:gsLst>
                    <a:lin ang="5400000" scaled="0"/>
                  </a:gradFill>
                </a:rPr>
                <a:t>ConfigMgr</a:t>
              </a:r>
              <a:r>
                <a:rPr lang="en-US" sz="2000" dirty="0" smtClean="0">
                  <a:gradFill>
                    <a:gsLst>
                      <a:gs pos="2917">
                        <a:schemeClr val="tx1"/>
                      </a:gs>
                      <a:gs pos="30000">
                        <a:schemeClr val="tx1"/>
                      </a:gs>
                    </a:gsLst>
                    <a:lin ang="5400000" scaled="0"/>
                  </a:gradFill>
                </a:rPr>
                <a:t> 2012 R2 and Next Major </a:t>
              </a:r>
              <a:r>
                <a:rPr lang="en-US" sz="2000" dirty="0" err="1" smtClean="0">
                  <a:gradFill>
                    <a:gsLst>
                      <a:gs pos="2917">
                        <a:schemeClr val="tx1"/>
                      </a:gs>
                      <a:gs pos="30000">
                        <a:schemeClr val="tx1"/>
                      </a:gs>
                    </a:gsLst>
                    <a:lin ang="5400000" scaled="0"/>
                  </a:gradFill>
                </a:rPr>
                <a:t>Intune</a:t>
              </a:r>
              <a:r>
                <a:rPr lang="en-US" sz="2000" dirty="0" smtClean="0">
                  <a:gradFill>
                    <a:gsLst>
                      <a:gs pos="2917">
                        <a:schemeClr val="tx1"/>
                      </a:gs>
                      <a:gs pos="30000">
                        <a:schemeClr val="tx1"/>
                      </a:gs>
                    </a:gsLst>
                    <a:lin ang="5400000" scaled="0"/>
                  </a:gradFill>
                </a:rPr>
                <a:t> version</a:t>
              </a:r>
            </a:p>
          </p:txBody>
        </p:sp>
      </p:grpSp>
    </p:spTree>
    <p:extLst>
      <p:ext uri="{BB962C8B-B14F-4D97-AF65-F5344CB8AC3E}">
        <p14:creationId xmlns:p14="http://schemas.microsoft.com/office/powerpoint/2010/main" val="25645933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animEffect transition="in" filter="fade">
                                      <p:cBhvr>
                                        <p:cTn id="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ple Network Access Accounts</a:t>
            </a:r>
            <a:endParaRPr lang="en-US" dirty="0"/>
          </a:p>
        </p:txBody>
      </p:sp>
      <p:sp>
        <p:nvSpPr>
          <p:cNvPr id="3" name="Text Placeholder 2"/>
          <p:cNvSpPr>
            <a:spLocks noGrp="1"/>
          </p:cNvSpPr>
          <p:nvPr>
            <p:ph type="body" sz="quarter" idx="10"/>
          </p:nvPr>
        </p:nvSpPr>
        <p:spPr/>
        <p:txBody>
          <a:bodyPr/>
          <a:lstStyle/>
          <a:p>
            <a:pPr lvl="1"/>
            <a:endParaRPr lang="en-US" dirty="0" smtClean="0">
              <a:latin typeface="+mj-lt"/>
            </a:endParaRPr>
          </a:p>
          <a:p>
            <a:r>
              <a:rPr lang="en-US" b="1" dirty="0" smtClean="0"/>
              <a:t>Problem:</a:t>
            </a:r>
            <a:r>
              <a:rPr lang="en-US" dirty="0" smtClean="0"/>
              <a:t> How do I deploy OSD or applications that require access in multiple untrusted domains if I have only one Network Access Account for a given primary site?</a:t>
            </a:r>
            <a:endParaRPr lang="en-US" dirty="0"/>
          </a:p>
          <a:p>
            <a:endParaRPr lang="en-US" b="1" dirty="0" smtClean="0">
              <a:latin typeface="+mj-lt"/>
            </a:endParaRPr>
          </a:p>
          <a:p>
            <a:r>
              <a:rPr lang="en-US" b="1" dirty="0" smtClean="0">
                <a:latin typeface="+mj-lt"/>
              </a:rPr>
              <a:t>Solution:</a:t>
            </a:r>
            <a:r>
              <a:rPr lang="en-US" dirty="0" smtClean="0">
                <a:latin typeface="+mj-lt"/>
              </a:rPr>
              <a:t> multiple network access accounts per site</a:t>
            </a:r>
          </a:p>
          <a:p>
            <a:pPr lvl="1"/>
            <a:r>
              <a:rPr lang="en-US" dirty="0" smtClean="0">
                <a:latin typeface="+mj-lt"/>
              </a:rPr>
              <a:t>Supports backward compatibility for SP1 clients</a:t>
            </a:r>
          </a:p>
          <a:p>
            <a:pPr lvl="1"/>
            <a:r>
              <a:rPr lang="en-US" dirty="0" smtClean="0">
                <a:latin typeface="+mj-lt"/>
              </a:rPr>
              <a:t>Troubleshooting assistance provided through dts.log</a:t>
            </a:r>
            <a:endParaRPr lang="en-US" dirty="0">
              <a:latin typeface="+mj-lt"/>
            </a:endParaRPr>
          </a:p>
        </p:txBody>
      </p:sp>
      <p:grpSp>
        <p:nvGrpSpPr>
          <p:cNvPr id="5" name="Group 4"/>
          <p:cNvGrpSpPr/>
          <p:nvPr/>
        </p:nvGrpSpPr>
        <p:grpSpPr>
          <a:xfrm>
            <a:off x="7488915" y="3305731"/>
            <a:ext cx="5890269" cy="1709909"/>
            <a:chOff x="7846724" y="688776"/>
            <a:chExt cx="5890269" cy="1709909"/>
          </a:xfrm>
        </p:grpSpPr>
        <p:sp>
          <p:nvSpPr>
            <p:cNvPr id="7" name="Explosion 2 6"/>
            <p:cNvSpPr/>
            <p:nvPr/>
          </p:nvSpPr>
          <p:spPr bwMode="auto">
            <a:xfrm rot="329436">
              <a:off x="7846724" y="688776"/>
              <a:ext cx="5890269" cy="1709909"/>
            </a:xfrm>
            <a:prstGeom prst="irregularSeal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8772569" y="1100470"/>
              <a:ext cx="3836839"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ew in </a:t>
              </a:r>
              <a:r>
                <a:rPr lang="en-US" sz="2000" dirty="0" err="1" smtClean="0">
                  <a:gradFill>
                    <a:gsLst>
                      <a:gs pos="2917">
                        <a:schemeClr val="tx1"/>
                      </a:gs>
                      <a:gs pos="30000">
                        <a:schemeClr val="tx1"/>
                      </a:gs>
                    </a:gsLst>
                    <a:lin ang="5400000" scaled="0"/>
                  </a:gradFill>
                </a:rPr>
                <a:t>ConfigMgr</a:t>
              </a:r>
              <a:r>
                <a:rPr lang="en-US" sz="2000" dirty="0" smtClean="0">
                  <a:gradFill>
                    <a:gsLst>
                      <a:gs pos="2917">
                        <a:schemeClr val="tx1"/>
                      </a:gs>
                      <a:gs pos="30000">
                        <a:schemeClr val="tx1"/>
                      </a:gs>
                    </a:gsLst>
                    <a:lin ang="5400000" scaled="0"/>
                  </a:gradFill>
                </a:rPr>
                <a:t> 2012 R2 and Next Major </a:t>
              </a:r>
              <a:r>
                <a:rPr lang="en-US" sz="2000" dirty="0" err="1" smtClean="0">
                  <a:gradFill>
                    <a:gsLst>
                      <a:gs pos="2917">
                        <a:schemeClr val="tx1"/>
                      </a:gs>
                      <a:gs pos="30000">
                        <a:schemeClr val="tx1"/>
                      </a:gs>
                    </a:gsLst>
                    <a:lin ang="5400000" scaled="0"/>
                  </a:gradFill>
                </a:rPr>
                <a:t>Intune</a:t>
              </a:r>
              <a:r>
                <a:rPr lang="en-US" sz="2000" dirty="0" smtClean="0">
                  <a:gradFill>
                    <a:gsLst>
                      <a:gs pos="2917">
                        <a:schemeClr val="tx1"/>
                      </a:gs>
                      <a:gs pos="30000">
                        <a:schemeClr val="tx1"/>
                      </a:gs>
                    </a:gsLst>
                    <a:lin ang="5400000" scaled="0"/>
                  </a:gradFill>
                </a:rPr>
                <a:t> version</a:t>
              </a:r>
            </a:p>
          </p:txBody>
        </p:sp>
      </p:grpSp>
    </p:spTree>
    <p:extLst>
      <p:ext uri="{BB962C8B-B14F-4D97-AF65-F5344CB8AC3E}">
        <p14:creationId xmlns:p14="http://schemas.microsoft.com/office/powerpoint/2010/main" val="98505219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grade Overview</a:t>
            </a:r>
            <a:endParaRPr lang="en-US" dirty="0"/>
          </a:p>
        </p:txBody>
      </p:sp>
      <p:sp>
        <p:nvSpPr>
          <p:cNvPr id="3" name="Text Placeholder 2"/>
          <p:cNvSpPr>
            <a:spLocks noGrp="1"/>
          </p:cNvSpPr>
          <p:nvPr>
            <p:ph type="body" sz="quarter" idx="10"/>
          </p:nvPr>
        </p:nvSpPr>
        <p:spPr>
          <a:xfrm>
            <a:off x="274638" y="1212850"/>
            <a:ext cx="11887200" cy="5583067"/>
          </a:xfrm>
        </p:spPr>
        <p:txBody>
          <a:bodyPr/>
          <a:lstStyle/>
          <a:p>
            <a:r>
              <a:rPr lang="en-US" sz="3200" dirty="0" smtClean="0"/>
              <a:t>Upgrades must be top-down (i.e. start with the CAS)</a:t>
            </a:r>
          </a:p>
          <a:p>
            <a:r>
              <a:rPr lang="en-US" sz="3200" dirty="0" smtClean="0"/>
              <a:t>You will need to install new Windows Assessment and Deployment Toolkit (ADK) components on appropriate site systems</a:t>
            </a:r>
          </a:p>
          <a:p>
            <a:pPr lvl="1"/>
            <a:r>
              <a:rPr lang="en-US" dirty="0" smtClean="0"/>
              <a:t>Deployment Tools – All sites and providers</a:t>
            </a:r>
          </a:p>
          <a:p>
            <a:pPr lvl="1"/>
            <a:r>
              <a:rPr lang="en-US" dirty="0" smtClean="0"/>
              <a:t>Windows PE – All sites and providers</a:t>
            </a:r>
          </a:p>
          <a:p>
            <a:pPr lvl="1"/>
            <a:r>
              <a:rPr lang="en-US" dirty="0" smtClean="0"/>
              <a:t>USMT – Top-level site only</a:t>
            </a:r>
          </a:p>
          <a:p>
            <a:r>
              <a:rPr lang="en-US" sz="3200" dirty="0" smtClean="0"/>
              <a:t>SP1 clients cannot be assigned to RTM sites</a:t>
            </a:r>
          </a:p>
          <a:p>
            <a:r>
              <a:rPr lang="en-US" sz="3200" dirty="0" smtClean="0"/>
              <a:t>Always run </a:t>
            </a:r>
            <a:r>
              <a:rPr lang="en-US" sz="3200" dirty="0" err="1"/>
              <a:t>T</a:t>
            </a:r>
            <a:r>
              <a:rPr lang="en-US" sz="3200" dirty="0" err="1" smtClean="0"/>
              <a:t>estDBUpgrade</a:t>
            </a:r>
            <a:r>
              <a:rPr lang="en-US" sz="3200" dirty="0" smtClean="0"/>
              <a:t> validations against a copy of your database</a:t>
            </a:r>
          </a:p>
          <a:p>
            <a:r>
              <a:rPr lang="en-US" sz="3200" dirty="0" smtClean="0"/>
              <a:t>For </a:t>
            </a:r>
            <a:r>
              <a:rPr lang="en-US" sz="3200" dirty="0" err="1" smtClean="0"/>
              <a:t>ConfigMgr</a:t>
            </a:r>
            <a:r>
              <a:rPr lang="en-US" sz="3200" dirty="0" smtClean="0"/>
              <a:t> 2012 to </a:t>
            </a:r>
            <a:r>
              <a:rPr lang="en-US" sz="3200" dirty="0" err="1"/>
              <a:t>ConfigMgr</a:t>
            </a:r>
            <a:r>
              <a:rPr lang="en-US" sz="3200" dirty="0"/>
              <a:t> 2012 </a:t>
            </a:r>
            <a:r>
              <a:rPr lang="en-US" sz="3200" dirty="0" smtClean="0"/>
              <a:t>SP1, hierarchies are in interoperability mode </a:t>
            </a:r>
            <a:r>
              <a:rPr lang="en-US" sz="3200" dirty="0"/>
              <a:t>(</a:t>
            </a:r>
            <a:r>
              <a:rPr lang="en-US" sz="3200" dirty="0" err="1"/>
              <a:t>ConfigMgr</a:t>
            </a:r>
            <a:r>
              <a:rPr lang="en-US" sz="3200" dirty="0"/>
              <a:t> 2012 </a:t>
            </a:r>
            <a:r>
              <a:rPr lang="en-US" sz="3200" dirty="0" smtClean="0"/>
              <a:t>SP1 to </a:t>
            </a:r>
            <a:r>
              <a:rPr lang="en-US" sz="3200" dirty="0" err="1"/>
              <a:t>ConfigMgr</a:t>
            </a:r>
            <a:r>
              <a:rPr lang="en-US" sz="3200" dirty="0"/>
              <a:t> </a:t>
            </a:r>
            <a:r>
              <a:rPr lang="en-US" sz="3200" dirty="0" smtClean="0"/>
              <a:t>2012 R2 have no interoperability considerations)</a:t>
            </a:r>
          </a:p>
        </p:txBody>
      </p:sp>
    </p:spTree>
    <p:extLst>
      <p:ext uri="{BB962C8B-B14F-4D97-AF65-F5344CB8AC3E}">
        <p14:creationId xmlns:p14="http://schemas.microsoft.com/office/powerpoint/2010/main" val="392700361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606747" y="1352782"/>
            <a:ext cx="1267808" cy="100168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4" name="Rectangle 13"/>
          <p:cNvSpPr/>
          <p:nvPr/>
        </p:nvSpPr>
        <p:spPr bwMode="auto">
          <a:xfrm>
            <a:off x="3606747" y="1334728"/>
            <a:ext cx="1267808" cy="100168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7" name="Rectangle 16"/>
          <p:cNvSpPr/>
          <p:nvPr/>
        </p:nvSpPr>
        <p:spPr bwMode="auto">
          <a:xfrm>
            <a:off x="3606747" y="1334728"/>
            <a:ext cx="1267808" cy="100168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3" name="Title 2"/>
          <p:cNvSpPr>
            <a:spLocks noGrp="1"/>
          </p:cNvSpPr>
          <p:nvPr>
            <p:ph type="title"/>
          </p:nvPr>
        </p:nvSpPr>
        <p:spPr/>
        <p:txBody>
          <a:bodyPr/>
          <a:lstStyle/>
          <a:p>
            <a:r>
              <a:rPr lang="en-US" dirty="0" smtClean="0"/>
              <a:t>Service Pack 1 Interoperability Mode</a:t>
            </a:r>
            <a:endParaRPr lang="en-US" dirty="0"/>
          </a:p>
        </p:txBody>
      </p:sp>
      <p:sp>
        <p:nvSpPr>
          <p:cNvPr id="4" name="Content Placeholder 3"/>
          <p:cNvSpPr>
            <a:spLocks noGrp="1"/>
          </p:cNvSpPr>
          <p:nvPr>
            <p:ph sz="quarter" idx="4294967295"/>
          </p:nvPr>
        </p:nvSpPr>
        <p:spPr>
          <a:xfrm>
            <a:off x="7894637" y="1476375"/>
            <a:ext cx="4137025" cy="5081071"/>
          </a:xfrm>
          <a:prstGeom prst="rect">
            <a:avLst/>
          </a:prstGeom>
        </p:spPr>
        <p:txBody>
          <a:bodyPr/>
          <a:lstStyle/>
          <a:p>
            <a:r>
              <a:rPr lang="en-US" sz="2856" dirty="0" smtClean="0"/>
              <a:t>User </a:t>
            </a:r>
            <a:r>
              <a:rPr lang="en-US" sz="2856" dirty="0"/>
              <a:t>upgrades CAS to SP1</a:t>
            </a:r>
          </a:p>
          <a:p>
            <a:r>
              <a:rPr lang="en-US" sz="2856" dirty="0"/>
              <a:t>Schema is replicated throughout the hierarchy</a:t>
            </a:r>
          </a:p>
          <a:p>
            <a:r>
              <a:rPr lang="en-US" sz="2856" dirty="0"/>
              <a:t>Hierarchy is now in Interoperability Mode</a:t>
            </a:r>
          </a:p>
          <a:p>
            <a:r>
              <a:rPr lang="en-US" sz="2856" dirty="0"/>
              <a:t>All </a:t>
            </a:r>
            <a:r>
              <a:rPr lang="en-US" sz="2856" dirty="0" smtClean="0"/>
              <a:t>primaries </a:t>
            </a:r>
            <a:r>
              <a:rPr lang="en-US" sz="2856" dirty="0"/>
              <a:t>must be upgraded to get out of </a:t>
            </a:r>
            <a:r>
              <a:rPr lang="en-US" sz="2856" dirty="0" err="1"/>
              <a:t>interop</a:t>
            </a:r>
            <a:r>
              <a:rPr lang="en-US" sz="2856" dirty="0"/>
              <a:t> mode</a:t>
            </a:r>
          </a:p>
          <a:p>
            <a:endParaRPr lang="en-US" dirty="0"/>
          </a:p>
        </p:txBody>
      </p:sp>
      <p:pic>
        <p:nvPicPr>
          <p:cNvPr id="5"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633788" y="1407152"/>
            <a:ext cx="1119124" cy="892946"/>
          </a:xfrm>
          <a:prstGeom prst="rect">
            <a:avLst/>
          </a:prstGeom>
          <a:noFill/>
        </p:spPr>
      </p:pic>
      <p:grpSp>
        <p:nvGrpSpPr>
          <p:cNvPr id="6" name="Group 5"/>
          <p:cNvGrpSpPr/>
          <p:nvPr/>
        </p:nvGrpSpPr>
        <p:grpSpPr>
          <a:xfrm>
            <a:off x="827337" y="2627452"/>
            <a:ext cx="1319001" cy="976929"/>
            <a:chOff x="3251999" y="4362188"/>
            <a:chExt cx="1293256" cy="957860"/>
          </a:xfrm>
        </p:grpSpPr>
        <p:pic>
          <p:nvPicPr>
            <p:cNvPr id="7"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524250" y="4362188"/>
              <a:ext cx="822960" cy="656638"/>
            </a:xfrm>
            <a:prstGeom prst="rect">
              <a:avLst/>
            </a:prstGeom>
            <a:noFill/>
          </p:spPr>
        </p:pic>
        <p:sp>
          <p:nvSpPr>
            <p:cNvPr id="8" name="TextBox 7"/>
            <p:cNvSpPr txBox="1"/>
            <p:nvPr/>
          </p:nvSpPr>
          <p:spPr>
            <a:xfrm>
              <a:off x="3251999" y="5007975"/>
              <a:ext cx="1293256" cy="312073"/>
            </a:xfrm>
            <a:prstGeom prst="rect">
              <a:avLst/>
            </a:prstGeom>
            <a:noFill/>
            <a:ln>
              <a:noFill/>
            </a:ln>
          </p:spPr>
          <p:txBody>
            <a:bodyPr wrap="square" rtlCol="0">
              <a:spAutoFit/>
            </a:bodyPr>
            <a:lstStyle/>
            <a:p>
              <a:pPr algn="ctr"/>
              <a:r>
                <a:rPr lang="en-US" sz="1428" dirty="0">
                  <a:solidFill>
                    <a:srgbClr val="FFFFFF"/>
                  </a:solidFill>
                </a:rPr>
                <a:t>Primary Site </a:t>
              </a:r>
            </a:p>
          </p:txBody>
        </p:sp>
      </p:grpSp>
      <p:grpSp>
        <p:nvGrpSpPr>
          <p:cNvPr id="9" name="Group 8"/>
          <p:cNvGrpSpPr/>
          <p:nvPr/>
        </p:nvGrpSpPr>
        <p:grpSpPr>
          <a:xfrm>
            <a:off x="6175698" y="2627452"/>
            <a:ext cx="1363727" cy="976929"/>
            <a:chOff x="7641162" y="4362188"/>
            <a:chExt cx="1337109" cy="957860"/>
          </a:xfrm>
        </p:grpSpPr>
        <p:pic>
          <p:nvPicPr>
            <p:cNvPr id="10"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7847012" y="4362188"/>
              <a:ext cx="822960" cy="656638"/>
            </a:xfrm>
            <a:prstGeom prst="rect">
              <a:avLst/>
            </a:prstGeom>
            <a:noFill/>
          </p:spPr>
        </p:pic>
        <p:sp>
          <p:nvSpPr>
            <p:cNvPr id="11" name="TextBox 10"/>
            <p:cNvSpPr txBox="1"/>
            <p:nvPr/>
          </p:nvSpPr>
          <p:spPr>
            <a:xfrm>
              <a:off x="7641162" y="5007975"/>
              <a:ext cx="1337109" cy="312073"/>
            </a:xfrm>
            <a:prstGeom prst="rect">
              <a:avLst/>
            </a:prstGeom>
            <a:noFill/>
            <a:ln>
              <a:noFill/>
            </a:ln>
          </p:spPr>
          <p:txBody>
            <a:bodyPr wrap="square" rtlCol="0">
              <a:spAutoFit/>
            </a:bodyPr>
            <a:lstStyle/>
            <a:p>
              <a:pPr algn="ctr"/>
              <a:r>
                <a:rPr lang="en-US" sz="1428" dirty="0">
                  <a:solidFill>
                    <a:srgbClr val="FFFFFF"/>
                  </a:solidFill>
                </a:rPr>
                <a:t>Primary Site </a:t>
              </a:r>
            </a:p>
          </p:txBody>
        </p:sp>
      </p:grpSp>
      <p:cxnSp>
        <p:nvCxnSpPr>
          <p:cNvPr id="12" name="Straight Arrow Connector 11"/>
          <p:cNvCxnSpPr/>
          <p:nvPr/>
        </p:nvCxnSpPr>
        <p:spPr>
          <a:xfrm flipH="1">
            <a:off x="1843084" y="2032016"/>
            <a:ext cx="1695717" cy="595436"/>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4852471" y="2032016"/>
            <a:ext cx="1695717" cy="595436"/>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bwMode="auto">
          <a:xfrm>
            <a:off x="2921212" y="3211593"/>
            <a:ext cx="2547388" cy="64036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20" name="TextBox 19"/>
          <p:cNvSpPr txBox="1"/>
          <p:nvPr/>
        </p:nvSpPr>
        <p:spPr>
          <a:xfrm>
            <a:off x="2921212" y="3212259"/>
            <a:ext cx="3418562" cy="649454"/>
          </a:xfrm>
          <a:prstGeom prst="rect">
            <a:avLst/>
          </a:prstGeom>
          <a:noFill/>
        </p:spPr>
        <p:txBody>
          <a:bodyPr wrap="square" lIns="93260" tIns="93260" rIns="93260" bIns="93260" rtlCol="0">
            <a:spAutoFit/>
          </a:bodyPr>
          <a:lstStyle/>
          <a:p>
            <a:pPr>
              <a:lnSpc>
                <a:spcPct val="90000"/>
              </a:lnSpc>
              <a:spcBef>
                <a:spcPct val="20000"/>
              </a:spcBef>
              <a:buSzPct val="90000"/>
            </a:pPr>
            <a:r>
              <a:rPr lang="en-US" sz="3264" b="1" dirty="0" err="1">
                <a:solidFill>
                  <a:schemeClr val="tx1">
                    <a:alpha val="99000"/>
                  </a:schemeClr>
                </a:solidFill>
              </a:rPr>
              <a:t>Interop</a:t>
            </a:r>
            <a:r>
              <a:rPr lang="en-US" sz="3264" b="1" dirty="0">
                <a:solidFill>
                  <a:schemeClr val="tx1">
                    <a:alpha val="99000"/>
                  </a:schemeClr>
                </a:solidFill>
              </a:rPr>
              <a:t>: </a:t>
            </a:r>
            <a:r>
              <a:rPr lang="en-US" sz="3264" b="1" dirty="0">
                <a:solidFill>
                  <a:srgbClr val="FFFF00">
                    <a:alpha val="99000"/>
                  </a:srgbClr>
                </a:solidFill>
              </a:rPr>
              <a:t>On</a:t>
            </a:r>
          </a:p>
        </p:txBody>
      </p:sp>
      <p:sp>
        <p:nvSpPr>
          <p:cNvPr id="22" name="TextBox 21"/>
          <p:cNvSpPr txBox="1"/>
          <p:nvPr/>
        </p:nvSpPr>
        <p:spPr>
          <a:xfrm>
            <a:off x="2921212" y="3211593"/>
            <a:ext cx="3764952" cy="649454"/>
          </a:xfrm>
          <a:prstGeom prst="rect">
            <a:avLst/>
          </a:prstGeom>
          <a:noFill/>
        </p:spPr>
        <p:txBody>
          <a:bodyPr wrap="square" lIns="93260" tIns="93260" rIns="93260" bIns="93260" rtlCol="0">
            <a:spAutoFit/>
          </a:bodyPr>
          <a:lstStyle/>
          <a:p>
            <a:pPr>
              <a:lnSpc>
                <a:spcPct val="90000"/>
              </a:lnSpc>
              <a:spcBef>
                <a:spcPct val="20000"/>
              </a:spcBef>
              <a:buSzPct val="90000"/>
            </a:pPr>
            <a:r>
              <a:rPr lang="en-US" sz="3264" b="1" dirty="0" err="1">
                <a:solidFill>
                  <a:schemeClr val="tx1">
                    <a:alpha val="99000"/>
                  </a:schemeClr>
                </a:solidFill>
              </a:rPr>
              <a:t>Interop</a:t>
            </a:r>
            <a:r>
              <a:rPr lang="en-US" sz="3264" b="1" dirty="0">
                <a:solidFill>
                  <a:schemeClr val="tx1">
                    <a:alpha val="99000"/>
                  </a:schemeClr>
                </a:solidFill>
              </a:rPr>
              <a:t>: </a:t>
            </a:r>
            <a:r>
              <a:rPr lang="en-US" sz="3264" b="1" dirty="0">
                <a:solidFill>
                  <a:srgbClr val="FFFF00">
                    <a:alpha val="99000"/>
                  </a:srgbClr>
                </a:solidFill>
              </a:rPr>
              <a:t>Off</a:t>
            </a:r>
          </a:p>
        </p:txBody>
      </p:sp>
      <p:grpSp>
        <p:nvGrpSpPr>
          <p:cNvPr id="21" name="Group 20"/>
          <p:cNvGrpSpPr/>
          <p:nvPr/>
        </p:nvGrpSpPr>
        <p:grpSpPr>
          <a:xfrm>
            <a:off x="1105008" y="4149874"/>
            <a:ext cx="6332429" cy="2090588"/>
            <a:chOff x="2840737" y="3591131"/>
            <a:chExt cx="6339840" cy="2431545"/>
          </a:xfrm>
        </p:grpSpPr>
        <p:pic>
          <p:nvPicPr>
            <p:cNvPr id="23" name="Picture 2" descr="image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0737" y="3591131"/>
              <a:ext cx="6339840" cy="2431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3"/>
            <p:cNvSpPr txBox="1"/>
            <p:nvPr/>
          </p:nvSpPr>
          <p:spPr>
            <a:xfrm flipH="1">
              <a:off x="3816096" y="4376928"/>
              <a:ext cx="5035296" cy="553998"/>
            </a:xfrm>
            <a:prstGeom prst="rect">
              <a:avLst/>
            </a:prstGeom>
            <a:solidFill>
              <a:schemeClr val="tx1"/>
            </a:solidFill>
          </p:spPr>
          <p:txBody>
            <a:bodyPr wrap="square" lIns="0" tIns="0" rIns="0" bIns="0" rtlCol="0">
              <a:spAutoFit/>
            </a:bodyPr>
            <a:lstStyle/>
            <a:p>
              <a:r>
                <a:rPr lang="en-US" sz="1200" dirty="0" smtClean="0">
                  <a:solidFill>
                    <a:schemeClr val="bg1"/>
                  </a:solidFill>
                  <a:latin typeface="Segoe UI" panose="020B0502040204020203" pitchFamily="34" charset="0"/>
                  <a:cs typeface="Segoe UI" panose="020B0502040204020203" pitchFamily="34" charset="0"/>
                </a:rPr>
                <a:t>This hierarchy currently contains sites that have not been upgraded to System Center 2012 Configuration Manager SP1.  Objects of this type cannot be created until all primary sites have been upgraded.</a:t>
              </a:r>
            </a:p>
          </p:txBody>
        </p:sp>
      </p:grpSp>
    </p:spTree>
    <p:extLst>
      <p:ext uri="{BB962C8B-B14F-4D97-AF65-F5344CB8AC3E}">
        <p14:creationId xmlns:p14="http://schemas.microsoft.com/office/powerpoint/2010/main" val="11221640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par>
                          <p:cTn id="17" fill="hold">
                            <p:stCondLst>
                              <p:cond delay="0"/>
                            </p:stCondLst>
                            <p:childTnLst>
                              <p:par>
                                <p:cTn id="18" presetID="42" presetClass="path" presetSubtype="0" accel="50000" decel="50000" fill="hold" grpId="1" nodeType="afterEffect">
                                  <p:stCondLst>
                                    <p:cond delay="0"/>
                                  </p:stCondLst>
                                  <p:childTnLst>
                                    <p:animMotion origin="layout" path="M 4.79167E-6 1.48148E-6 L -0.22019 0.17731 " pathEditMode="relative" rAng="0" ptsTypes="AA">
                                      <p:cBhvr>
                                        <p:cTn id="19" dur="2000" fill="hold"/>
                                        <p:tgtEl>
                                          <p:spTgt spid="17"/>
                                        </p:tgtEl>
                                        <p:attrNameLst>
                                          <p:attrName>ppt_x</p:attrName>
                                          <p:attrName>ppt_y</p:attrName>
                                        </p:attrNameLst>
                                      </p:cBhvr>
                                      <p:rCtr x="-11016" y="8866"/>
                                    </p:animMotion>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childTnLst>
                                </p:cTn>
                              </p:par>
                            </p:childTnLst>
                          </p:cTn>
                        </p:par>
                        <p:par>
                          <p:cTn id="24" fill="hold">
                            <p:stCondLst>
                              <p:cond delay="0"/>
                            </p:stCondLst>
                            <p:childTnLst>
                              <p:par>
                                <p:cTn id="25" presetID="42" presetClass="path" presetSubtype="0" accel="50000" decel="50000" fill="hold" grpId="1" nodeType="afterEffect">
                                  <p:stCondLst>
                                    <p:cond delay="0"/>
                                  </p:stCondLst>
                                  <p:childTnLst>
                                    <p:animMotion origin="layout" path="M 4.79167E-6 3.7037E-6 L 0.20833 0.17245 " pathEditMode="relative" rAng="0" ptsTypes="AA">
                                      <p:cBhvr>
                                        <p:cTn id="26" dur="2000" fill="hold"/>
                                        <p:tgtEl>
                                          <p:spTgt spid="18"/>
                                        </p:tgtEl>
                                        <p:attrNameLst>
                                          <p:attrName>ppt_x</p:attrName>
                                          <p:attrName>ppt_y</p:attrName>
                                        </p:attrNameLst>
                                      </p:cBhvr>
                                      <p:rCtr x="10417" y="8611"/>
                                    </p:animMotion>
                                  </p:childTnLst>
                                </p:cTn>
                              </p:par>
                            </p:childTnLst>
                          </p:cTn>
                        </p:par>
                        <p:par>
                          <p:cTn id="27" fill="hold">
                            <p:stCondLst>
                              <p:cond delay="2000"/>
                            </p:stCondLst>
                            <p:childTnLst>
                              <p:par>
                                <p:cTn id="28" presetID="1" presetClass="exit" presetSubtype="0" fill="hold" nodeType="afterEffect">
                                  <p:stCondLst>
                                    <p:cond delay="0"/>
                                  </p:stCondLst>
                                  <p:childTnLst>
                                    <p:set>
                                      <p:cBhvr>
                                        <p:cTn id="29" dur="1" fill="hold">
                                          <p:stCondLst>
                                            <p:cond delay="0"/>
                                          </p:stCondLst>
                                        </p:cTn>
                                        <p:tgtEl>
                                          <p:spTgt spid="21"/>
                                        </p:tgtEl>
                                        <p:attrNameLst>
                                          <p:attrName>style.visibility</p:attrName>
                                        </p:attrNameLst>
                                      </p:cBhvr>
                                      <p:to>
                                        <p:strVal val="hidden"/>
                                      </p:to>
                                    </p:set>
                                  </p:childTnLst>
                                </p:cTn>
                              </p:par>
                            </p:childTnLst>
                          </p:cTn>
                        </p:par>
                        <p:par>
                          <p:cTn id="30" fill="hold">
                            <p:stCondLst>
                              <p:cond delay="2000"/>
                            </p:stCondLst>
                            <p:childTnLst>
                              <p:par>
                                <p:cTn id="31" presetID="1" presetClass="exit" presetSubtype="0" fill="hold" grpId="1" nodeType="afterEffect">
                                  <p:stCondLst>
                                    <p:cond delay="0"/>
                                  </p:stCondLst>
                                  <p:childTnLst>
                                    <p:set>
                                      <p:cBhvr>
                                        <p:cTn id="32" dur="1" fill="hold">
                                          <p:stCondLst>
                                            <p:cond delay="0"/>
                                          </p:stCondLst>
                                        </p:cTn>
                                        <p:tgtEl>
                                          <p:spTgt spid="20"/>
                                        </p:tgtEl>
                                        <p:attrNameLst>
                                          <p:attrName>style.visibility</p:attrName>
                                        </p:attrNameLst>
                                      </p:cBhvr>
                                      <p:to>
                                        <p:strVal val="hidden"/>
                                      </p:to>
                                    </p:set>
                                  </p:childTnLst>
                                </p:cTn>
                              </p:par>
                              <p:par>
                                <p:cTn id="33" presetID="1" presetClass="entr" presetSubtype="0" fill="hold" grpId="1"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4" grpId="0" animBg="1"/>
      <p:bldP spid="17" grpId="0" animBg="1"/>
      <p:bldP spid="17" grpId="1" animBg="1"/>
      <p:bldP spid="20" grpId="0"/>
      <p:bldP spid="20" grpId="1"/>
      <p:bldP spid="22" grpId="0"/>
      <p:bldP spid="22"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smtClean="0"/>
              <a:t>Replication Configuration Improvements</a:t>
            </a:r>
            <a:endParaRPr lang="en-US" dirty="0"/>
          </a:p>
        </p:txBody>
      </p:sp>
      <p:sp>
        <p:nvSpPr>
          <p:cNvPr id="3" name="Content Placeholder 2"/>
          <p:cNvSpPr>
            <a:spLocks noGrp="1"/>
          </p:cNvSpPr>
          <p:nvPr>
            <p:ph type="body" sz="quarter" idx="10"/>
          </p:nvPr>
        </p:nvSpPr>
        <p:spPr/>
        <p:txBody>
          <a:bodyPr/>
          <a:lstStyle/>
          <a:p>
            <a:r>
              <a:rPr lang="en-US" dirty="0" smtClean="0"/>
              <a:t>Replication traffic compression</a:t>
            </a:r>
          </a:p>
          <a:p>
            <a:pPr lvl="1"/>
            <a:r>
              <a:rPr lang="en-US" dirty="0" smtClean="0"/>
              <a:t>Decrease CAS traffic size ~ &gt; 70%</a:t>
            </a:r>
          </a:p>
          <a:p>
            <a:pPr lvl="1"/>
            <a:r>
              <a:rPr lang="en-US" dirty="0" smtClean="0"/>
              <a:t>Increase SQL CPU ~ &lt; 11%</a:t>
            </a:r>
          </a:p>
          <a:p>
            <a:pPr lvl="1"/>
            <a:r>
              <a:rPr lang="en-US" dirty="0" smtClean="0"/>
              <a:t>Default on for all links</a:t>
            </a:r>
          </a:p>
          <a:p>
            <a:r>
              <a:rPr lang="en-US" dirty="0" smtClean="0"/>
              <a:t>Change SQL Server Service Broker Ports</a:t>
            </a:r>
          </a:p>
          <a:p>
            <a:pPr lvl="1"/>
            <a:r>
              <a:rPr lang="en-US" dirty="0" smtClean="0"/>
              <a:t>Ease management for security</a:t>
            </a:r>
          </a:p>
          <a:p>
            <a:r>
              <a:rPr lang="en-US" dirty="0" smtClean="0"/>
              <a:t>Configure replication retention threshold</a:t>
            </a:r>
          </a:p>
          <a:p>
            <a:pPr lvl="1"/>
            <a:r>
              <a:rPr lang="en-US" dirty="0" smtClean="0"/>
              <a:t>Allow for extended outages</a:t>
            </a:r>
          </a:p>
          <a:p>
            <a:pPr lvl="1"/>
            <a:r>
              <a:rPr lang="en-US" dirty="0" smtClean="0"/>
              <a:t>Configure for problematic networks</a:t>
            </a:r>
          </a:p>
          <a:p>
            <a:endParaRPr lang="en-US" dirty="0" smtClean="0"/>
          </a:p>
          <a:p>
            <a:endParaRPr lang="en-US" dirty="0"/>
          </a:p>
        </p:txBody>
      </p:sp>
    </p:spTree>
    <p:extLst>
      <p:ext uri="{BB962C8B-B14F-4D97-AF65-F5344CB8AC3E}">
        <p14:creationId xmlns:p14="http://schemas.microsoft.com/office/powerpoint/2010/main" val="268259278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400" b="1" dirty="0"/>
              <a:t>What's New in Infrastructure: </a:t>
            </a:r>
            <a:r>
              <a:rPr lang="en-US" sz="3200" b="1" dirty="0"/>
              <a:t>Microsoft System Center 2012 SP1 - Configuration Manager Infrastructure Improvements and Hierarchy Design</a:t>
            </a:r>
            <a:endParaRPr lang="en-US" sz="3200" dirty="0"/>
          </a:p>
        </p:txBody>
      </p:sp>
      <p:sp>
        <p:nvSpPr>
          <p:cNvPr id="5" name="Text Placeholder 4"/>
          <p:cNvSpPr>
            <a:spLocks noGrp="1"/>
          </p:cNvSpPr>
          <p:nvPr>
            <p:ph type="body" sz="quarter" idx="12"/>
          </p:nvPr>
        </p:nvSpPr>
        <p:spPr/>
        <p:txBody>
          <a:bodyPr/>
          <a:lstStyle/>
          <a:p>
            <a:r>
              <a:rPr lang="en-US" dirty="0"/>
              <a:t>Wally </a:t>
            </a:r>
            <a:r>
              <a:rPr lang="en-US" dirty="0" smtClean="0"/>
              <a:t>Mead</a:t>
            </a:r>
          </a:p>
        </p:txBody>
      </p:sp>
      <p:sp>
        <p:nvSpPr>
          <p:cNvPr id="9" name="Text Placeholder 8"/>
          <p:cNvSpPr>
            <a:spLocks noGrp="1"/>
          </p:cNvSpPr>
          <p:nvPr>
            <p:ph type="body" sz="quarter" idx="13"/>
          </p:nvPr>
        </p:nvSpPr>
        <p:spPr/>
        <p:txBody>
          <a:bodyPr/>
          <a:lstStyle/>
          <a:p>
            <a:r>
              <a:rPr lang="en-US" dirty="0" smtClean="0"/>
              <a:t>WCA-B348</a:t>
            </a:r>
            <a:endParaRPr lang="en-US" dirty="0"/>
          </a:p>
        </p:txBody>
      </p:sp>
    </p:spTree>
    <p:extLst>
      <p:ext uri="{BB962C8B-B14F-4D97-AF65-F5344CB8AC3E}">
        <p14:creationId xmlns:p14="http://schemas.microsoft.com/office/powerpoint/2010/main" val="64993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smtClean="0"/>
              <a:t>Distributed Views</a:t>
            </a:r>
            <a:endParaRPr lang="en-US" dirty="0"/>
          </a:p>
        </p:txBody>
      </p:sp>
      <p:sp>
        <p:nvSpPr>
          <p:cNvPr id="3" name="Content Placeholder 2"/>
          <p:cNvSpPr>
            <a:spLocks noGrp="1"/>
          </p:cNvSpPr>
          <p:nvPr>
            <p:ph type="body" sz="quarter" idx="10"/>
          </p:nvPr>
        </p:nvSpPr>
        <p:spPr/>
        <p:txBody>
          <a:bodyPr/>
          <a:lstStyle/>
          <a:p>
            <a:r>
              <a:rPr lang="en-US" smtClean="0"/>
              <a:t>Well connected site servers</a:t>
            </a:r>
          </a:p>
          <a:p>
            <a:pPr lvl="1"/>
            <a:r>
              <a:rPr lang="en-US" smtClean="0"/>
              <a:t>Typically located in same physical location</a:t>
            </a:r>
          </a:p>
          <a:p>
            <a:pPr lvl="1"/>
            <a:r>
              <a:rPr lang="en-US" smtClean="0"/>
              <a:t>“Always” connected</a:t>
            </a:r>
          </a:p>
          <a:p>
            <a:pPr lvl="1"/>
            <a:r>
              <a:rPr lang="en-US" smtClean="0"/>
              <a:t>Reduce site data replication</a:t>
            </a:r>
          </a:p>
          <a:p>
            <a:pPr lvl="1"/>
            <a:r>
              <a:rPr lang="en-US" smtClean="0"/>
              <a:t>Reduce SQL server replication loads</a:t>
            </a:r>
          </a:p>
          <a:p>
            <a:pPr lvl="1"/>
            <a:r>
              <a:rPr lang="en-US" smtClean="0"/>
              <a:t>Improve SQL server performance</a:t>
            </a:r>
          </a:p>
          <a:p>
            <a:pPr lvl="1"/>
            <a:r>
              <a:rPr lang="en-US" smtClean="0"/>
              <a:t>Improve network bandwidth</a:t>
            </a:r>
          </a:p>
          <a:p>
            <a:r>
              <a:rPr lang="en-US" smtClean="0"/>
              <a:t>*Notes:</a:t>
            </a:r>
          </a:p>
          <a:p>
            <a:pPr lvl="1"/>
            <a:r>
              <a:rPr lang="en-US" smtClean="0"/>
              <a:t>Single provider supported at the CAS</a:t>
            </a:r>
          </a:p>
          <a:p>
            <a:pPr lvl="1"/>
            <a:r>
              <a:rPr lang="en-US" smtClean="0"/>
              <a:t>Single SRS at the CAS</a:t>
            </a:r>
          </a:p>
          <a:p>
            <a:pPr lvl="1"/>
            <a:endParaRPr lang="en-US" smtClean="0"/>
          </a:p>
          <a:p>
            <a:endParaRPr lang="en-US" dirty="0"/>
          </a:p>
        </p:txBody>
      </p:sp>
    </p:spTree>
    <p:extLst>
      <p:ext uri="{BB962C8B-B14F-4D97-AF65-F5344CB8AC3E}">
        <p14:creationId xmlns:p14="http://schemas.microsoft.com/office/powerpoint/2010/main" val="14110774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smtClean="0"/>
              <a:t>Schedule Site Data</a:t>
            </a:r>
            <a:endParaRPr lang="en-US" dirty="0"/>
          </a:p>
        </p:txBody>
      </p:sp>
      <p:sp>
        <p:nvSpPr>
          <p:cNvPr id="3" name="Content Placeholder 2"/>
          <p:cNvSpPr>
            <a:spLocks noGrp="1"/>
          </p:cNvSpPr>
          <p:nvPr>
            <p:ph type="body" sz="quarter" idx="10"/>
          </p:nvPr>
        </p:nvSpPr>
        <p:spPr/>
        <p:txBody>
          <a:bodyPr/>
          <a:lstStyle/>
          <a:p>
            <a:r>
              <a:rPr lang="en-US" smtClean="0"/>
              <a:t>Well connected site servers</a:t>
            </a:r>
          </a:p>
          <a:p>
            <a:pPr lvl="1"/>
            <a:r>
              <a:rPr lang="en-US" smtClean="0"/>
              <a:t>Protect business critical network applications</a:t>
            </a:r>
          </a:p>
          <a:p>
            <a:pPr lvl="1"/>
            <a:r>
              <a:rPr lang="en-US" smtClean="0"/>
              <a:t>Use excess bandwidth</a:t>
            </a:r>
          </a:p>
          <a:p>
            <a:pPr lvl="1"/>
            <a:r>
              <a:rPr lang="en-US" smtClean="0"/>
              <a:t>Reduce site data replication frequency</a:t>
            </a:r>
          </a:p>
          <a:p>
            <a:pPr lvl="1"/>
            <a:r>
              <a:rPr lang="en-US" smtClean="0"/>
              <a:t>Reduce SQL server replication loads</a:t>
            </a:r>
          </a:p>
          <a:p>
            <a:pPr lvl="1"/>
            <a:r>
              <a:rPr lang="en-US" smtClean="0"/>
              <a:t>Improve SQL server performance</a:t>
            </a:r>
          </a:p>
          <a:p>
            <a:pPr lvl="1"/>
            <a:r>
              <a:rPr lang="en-US" smtClean="0"/>
              <a:t>Improve network bandwidth</a:t>
            </a:r>
          </a:p>
          <a:p>
            <a:r>
              <a:rPr lang="en-US" smtClean="0"/>
              <a:t>*Note: Distributed views and scheduling are mutually exclusive</a:t>
            </a:r>
          </a:p>
          <a:p>
            <a:pPr lvl="1"/>
            <a:endParaRPr lang="en-US" smtClean="0"/>
          </a:p>
          <a:p>
            <a:endParaRPr lang="en-US" dirty="0"/>
          </a:p>
        </p:txBody>
      </p:sp>
    </p:spTree>
    <p:extLst>
      <p:ext uri="{BB962C8B-B14F-4D97-AF65-F5344CB8AC3E}">
        <p14:creationId xmlns:p14="http://schemas.microsoft.com/office/powerpoint/2010/main" val="26095416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smtClean="0"/>
              <a:t>Link Status</a:t>
            </a:r>
            <a:endParaRPr lang="en-US" dirty="0"/>
          </a:p>
        </p:txBody>
      </p:sp>
      <p:sp>
        <p:nvSpPr>
          <p:cNvPr id="3" name="Content Placeholder 2"/>
          <p:cNvSpPr>
            <a:spLocks noGrp="1"/>
          </p:cNvSpPr>
          <p:nvPr>
            <p:ph type="body" sz="quarter" idx="10"/>
          </p:nvPr>
        </p:nvSpPr>
        <p:spPr/>
        <p:txBody>
          <a:bodyPr/>
          <a:lstStyle/>
          <a:p>
            <a:r>
              <a:rPr lang="en-US" smtClean="0"/>
              <a:t>Customize replication link alerts per link</a:t>
            </a:r>
          </a:p>
          <a:p>
            <a:pPr lvl="1"/>
            <a:r>
              <a:rPr lang="en-US" smtClean="0"/>
              <a:t>Allowances for sub-optimal networks</a:t>
            </a:r>
          </a:p>
          <a:p>
            <a:pPr lvl="1"/>
            <a:r>
              <a:rPr lang="en-US" smtClean="0"/>
              <a:t>Adjust to support server performance capability</a:t>
            </a:r>
          </a:p>
          <a:p>
            <a:pPr lvl="1"/>
            <a:r>
              <a:rPr lang="en-US" smtClean="0"/>
              <a:t>Modify for “known” network issues</a:t>
            </a:r>
            <a:endParaRPr lang="en-US" dirty="0"/>
          </a:p>
        </p:txBody>
      </p:sp>
    </p:spTree>
    <p:extLst>
      <p:ext uri="{BB962C8B-B14F-4D97-AF65-F5344CB8AC3E}">
        <p14:creationId xmlns:p14="http://schemas.microsoft.com/office/powerpoint/2010/main" val="241277346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plication Improvements</a:t>
            </a:r>
            <a:r>
              <a:rPr lang="en-US" dirty="0"/>
              <a:t/>
            </a:r>
            <a:br>
              <a:rPr lang="en-US" dirty="0"/>
            </a:br>
            <a:endParaRPr lang="en-US" dirty="0"/>
          </a:p>
        </p:txBody>
      </p:sp>
    </p:spTree>
    <p:extLst>
      <p:ext uri="{BB962C8B-B14F-4D97-AF65-F5344CB8AC3E}">
        <p14:creationId xmlns:p14="http://schemas.microsoft.com/office/powerpoint/2010/main" val="152182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ull Distribution Point</a:t>
            </a:r>
            <a:br>
              <a:rPr lang="en-US" smtClean="0"/>
            </a:br>
            <a:endParaRPr lang="en-US" dirty="0"/>
          </a:p>
        </p:txBody>
      </p:sp>
      <p:sp>
        <p:nvSpPr>
          <p:cNvPr id="3" name="Text Placeholder 2"/>
          <p:cNvSpPr>
            <a:spLocks noGrp="1"/>
          </p:cNvSpPr>
          <p:nvPr>
            <p:ph type="body" sz="quarter" idx="10"/>
          </p:nvPr>
        </p:nvSpPr>
        <p:spPr>
          <a:xfrm>
            <a:off x="274638" y="1212850"/>
            <a:ext cx="11887200" cy="4278094"/>
          </a:xfrm>
        </p:spPr>
        <p:txBody>
          <a:bodyPr/>
          <a:lstStyle/>
          <a:p>
            <a:r>
              <a:rPr lang="en-US" dirty="0" smtClean="0"/>
              <a:t>What is a Pull Distribution Point?</a:t>
            </a:r>
          </a:p>
          <a:p>
            <a:pPr lvl="1"/>
            <a:r>
              <a:rPr lang="en-US" dirty="0" smtClean="0"/>
              <a:t>A regular distribution point but they will pull content from other distribution points/site server, rather than having the content pushed from the site server </a:t>
            </a:r>
          </a:p>
          <a:p>
            <a:pPr lvl="1"/>
            <a:r>
              <a:rPr lang="en-US" dirty="0" smtClean="0"/>
              <a:t>It is not a BDP!</a:t>
            </a:r>
          </a:p>
          <a:p>
            <a:r>
              <a:rPr lang="en-US" dirty="0" smtClean="0"/>
              <a:t>Pull DPs leverage distribution point framework for communication </a:t>
            </a:r>
          </a:p>
          <a:p>
            <a:pPr lvl="0"/>
            <a:endParaRPr lang="en-US" dirty="0" smtClean="0"/>
          </a:p>
          <a:p>
            <a:pPr lvl="0"/>
            <a:endParaRPr lang="en-US" dirty="0" smtClean="0"/>
          </a:p>
        </p:txBody>
      </p:sp>
    </p:spTree>
    <p:extLst>
      <p:ext uri="{BB962C8B-B14F-4D97-AF65-F5344CB8AC3E}">
        <p14:creationId xmlns:p14="http://schemas.microsoft.com/office/powerpoint/2010/main" val="13492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609442" y="274638"/>
            <a:ext cx="10969943" cy="960882"/>
          </a:xfrm>
          <a:prstGeom prst="rect">
            <a:avLst/>
          </a:prstGeom>
          <a:effectLst>
            <a:outerShdw blurRad="114300" dist="25400" dir="2700000">
              <a:srgbClr val="000000">
                <a:alpha val="76000"/>
              </a:srgbClr>
            </a:outerShdw>
          </a:effectLst>
        </p:spPr>
        <p:txBody>
          <a:bodyPr vert="horz" lIns="97713" tIns="48856" rIns="97713" bIns="48856" rtlCol="0" anchor="ctr">
            <a:normAutofit/>
          </a:bodyPr>
          <a:lstStyle>
            <a:lvl1pPr algn="l" defTabSz="488564" rtl="0" eaLnBrk="1" latinLnBrk="0" hangingPunct="1">
              <a:spcBef>
                <a:spcPct val="0"/>
              </a:spcBef>
              <a:buNone/>
              <a:defRPr sz="3800" kern="1200">
                <a:solidFill>
                  <a:srgbClr val="FFFFFF">
                    <a:alpha val="99000"/>
                  </a:srgbClr>
                </a:solidFill>
                <a:latin typeface="Arial"/>
                <a:ea typeface="+mj-ea"/>
                <a:cs typeface="Arial"/>
              </a:defRPr>
            </a:lvl1pPr>
          </a:lstStyle>
          <a:p>
            <a:pPr marL="0" marR="0" lvl="0" indent="0" algn="l" defTabSz="488564" rtl="0" eaLnBrk="1" fontAlgn="auto" latinLnBrk="0" hangingPunct="1">
              <a:lnSpc>
                <a:spcPct val="100000"/>
              </a:lnSpc>
              <a:spcBef>
                <a:spcPct val="0"/>
              </a:spcBef>
              <a:spcAft>
                <a:spcPts val="0"/>
              </a:spcAft>
              <a:buClrTx/>
              <a:buSzTx/>
              <a:buFontTx/>
              <a:buNone/>
              <a:tabLst/>
              <a:defRPr/>
            </a:pPr>
            <a:endParaRPr kumimoji="0" lang="en-US" sz="3800" b="0" i="0" u="none" strike="noStrike" kern="1200" cap="none" spc="0" normalizeH="0" baseline="0" noProof="0" dirty="0">
              <a:ln>
                <a:noFill/>
              </a:ln>
              <a:solidFill>
                <a:srgbClr val="FFFFFF">
                  <a:alpha val="99000"/>
                </a:srgbClr>
              </a:solidFill>
              <a:effectLst/>
              <a:uLnTx/>
              <a:uFillTx/>
              <a:latin typeface="Arial"/>
              <a:ea typeface="+mj-ea"/>
              <a:cs typeface="Arial"/>
            </a:endParaRPr>
          </a:p>
        </p:txBody>
      </p:sp>
      <p:graphicFrame>
        <p:nvGraphicFramePr>
          <p:cNvPr id="13" name="Content Placeholder 3"/>
          <p:cNvGraphicFramePr>
            <a:graphicFrameLocks/>
          </p:cNvGraphicFramePr>
          <p:nvPr>
            <p:extLst/>
          </p:nvPr>
        </p:nvGraphicFramePr>
        <p:xfrm>
          <a:off x="538163" y="1600200"/>
          <a:ext cx="11041062"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4" name="Straight Arrow Connector 13"/>
          <p:cNvCxnSpPr/>
          <p:nvPr/>
        </p:nvCxnSpPr>
        <p:spPr>
          <a:xfrm>
            <a:off x="2860601" y="3886199"/>
            <a:ext cx="795411" cy="1"/>
          </a:xfrm>
          <a:prstGeom prst="straightConnector1">
            <a:avLst/>
          </a:prstGeom>
          <a:noFill/>
          <a:ln w="50800" cap="flat" cmpd="sng" algn="ctr">
            <a:solidFill>
              <a:srgbClr val="FF0000"/>
            </a:solidFill>
            <a:prstDash val="solid"/>
            <a:headEnd type="oval"/>
            <a:tailEnd type="stealth"/>
          </a:ln>
          <a:effectLst>
            <a:outerShdw blurRad="40000" dist="20000" dir="5400000" rotWithShape="0">
              <a:srgbClr val="000000">
                <a:alpha val="38000"/>
              </a:srgbClr>
            </a:outerShdw>
          </a:effectLst>
        </p:spPr>
      </p:cxnSp>
      <p:sp>
        <p:nvSpPr>
          <p:cNvPr id="15" name="TextBox 14"/>
          <p:cNvSpPr txBox="1"/>
          <p:nvPr/>
        </p:nvSpPr>
        <p:spPr>
          <a:xfrm>
            <a:off x="5561012" y="2363333"/>
            <a:ext cx="646331" cy="3847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smtClean="0">
                <a:ln>
                  <a:noFill/>
                </a:ln>
                <a:solidFill>
                  <a:sysClr val="window" lastClr="FFFFFF"/>
                </a:solidFill>
                <a:effectLst/>
                <a:uLnTx/>
                <a:uFillTx/>
              </a:rPr>
              <a:t>Pull</a:t>
            </a:r>
            <a:r>
              <a:rPr kumimoji="0" lang="en-US" sz="1800" b="0" i="0" u="none" strike="noStrike" kern="0" cap="none" spc="0" normalizeH="0" baseline="0" noProof="0" dirty="0" err="1" smtClean="0">
                <a:ln>
                  <a:noFill/>
                </a:ln>
                <a:solidFill>
                  <a:sysClr val="windowText" lastClr="000000"/>
                </a:solidFill>
                <a:effectLst/>
                <a:uLnTx/>
                <a:uFillTx/>
              </a:rPr>
              <a:t>l</a:t>
            </a: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TextBox 15"/>
          <p:cNvSpPr txBox="1"/>
          <p:nvPr/>
        </p:nvSpPr>
        <p:spPr>
          <a:xfrm>
            <a:off x="6551612" y="2971800"/>
            <a:ext cx="646331" cy="3847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smtClean="0">
                <a:ln>
                  <a:noFill/>
                </a:ln>
                <a:solidFill>
                  <a:sysClr val="window" lastClr="FFFFFF"/>
                </a:solidFill>
                <a:effectLst/>
                <a:uLnTx/>
                <a:uFillTx/>
              </a:rPr>
              <a:t>Pull</a:t>
            </a:r>
            <a:r>
              <a:rPr kumimoji="0" lang="en-US" sz="1800" b="0" i="0" u="none" strike="noStrike" kern="0" cap="none" spc="0" normalizeH="0" baseline="0" noProof="0" dirty="0" err="1" smtClean="0">
                <a:ln>
                  <a:noFill/>
                </a:ln>
                <a:solidFill>
                  <a:sysClr val="windowText" lastClr="000000"/>
                </a:solidFill>
                <a:effectLst/>
                <a:uLnTx/>
                <a:uFillTx/>
              </a:rPr>
              <a:t>l</a:t>
            </a:r>
            <a:endParaRPr kumimoji="0" lang="en-US" sz="1800" b="0" i="0" u="none" strike="noStrike" kern="0" cap="none" spc="0" normalizeH="0" baseline="0" noProof="0" dirty="0">
              <a:ln>
                <a:noFill/>
              </a:ln>
              <a:solidFill>
                <a:sysClr val="windowText" lastClr="000000"/>
              </a:solidFill>
              <a:effectLst/>
              <a:uLnTx/>
              <a:uFillTx/>
            </a:endParaRPr>
          </a:p>
        </p:txBody>
      </p:sp>
      <p:sp>
        <p:nvSpPr>
          <p:cNvPr id="17" name="TextBox 16"/>
          <p:cNvSpPr txBox="1"/>
          <p:nvPr/>
        </p:nvSpPr>
        <p:spPr>
          <a:xfrm>
            <a:off x="6524193" y="4267200"/>
            <a:ext cx="646331" cy="3847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smtClean="0">
                <a:ln>
                  <a:noFill/>
                </a:ln>
                <a:solidFill>
                  <a:sysClr val="window" lastClr="FFFFFF"/>
                </a:solidFill>
                <a:effectLst/>
                <a:uLnTx/>
                <a:uFillTx/>
              </a:rPr>
              <a:t>Pull</a:t>
            </a:r>
            <a:r>
              <a:rPr kumimoji="0" lang="en-US" sz="1800" b="0" i="0" u="none" strike="noStrike" kern="0" cap="none" spc="0" normalizeH="0" baseline="0" noProof="0" dirty="0" err="1" smtClean="0">
                <a:ln>
                  <a:noFill/>
                </a:ln>
                <a:solidFill>
                  <a:sysClr val="windowText" lastClr="000000"/>
                </a:solidFill>
                <a:effectLst/>
                <a:uLnTx/>
                <a:uFillTx/>
              </a:rPr>
              <a:t>l</a:t>
            </a:r>
            <a:endParaRPr kumimoji="0" lang="en-US" sz="1800" b="0" i="0" u="none" strike="noStrike" kern="0" cap="none" spc="0" normalizeH="0" baseline="0" noProof="0" dirty="0">
              <a:ln>
                <a:noFill/>
              </a:ln>
              <a:solidFill>
                <a:sysClr val="windowText" lastClr="000000"/>
              </a:solidFill>
              <a:effectLst/>
              <a:uLnTx/>
              <a:uFillTx/>
            </a:endParaRPr>
          </a:p>
        </p:txBody>
      </p:sp>
      <p:sp>
        <p:nvSpPr>
          <p:cNvPr id="18" name="TextBox 17"/>
          <p:cNvSpPr txBox="1"/>
          <p:nvPr/>
        </p:nvSpPr>
        <p:spPr>
          <a:xfrm>
            <a:off x="5561011" y="4876800"/>
            <a:ext cx="646331" cy="3847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smtClean="0">
                <a:ln>
                  <a:noFill/>
                </a:ln>
                <a:solidFill>
                  <a:sysClr val="window" lastClr="FFFFFF"/>
                </a:solidFill>
                <a:effectLst/>
                <a:uLnTx/>
                <a:uFillTx/>
              </a:rPr>
              <a:t>Pull</a:t>
            </a:r>
            <a:r>
              <a:rPr kumimoji="0" lang="en-US" sz="1800" b="0" i="0" u="none" strike="noStrike" kern="0" cap="none" spc="0" normalizeH="0" baseline="0" noProof="0" dirty="0" err="1" smtClean="0">
                <a:ln>
                  <a:noFill/>
                </a:ln>
                <a:solidFill>
                  <a:sysClr val="windowText" lastClr="000000"/>
                </a:solidFill>
                <a:effectLst/>
                <a:uLnTx/>
                <a:uFillTx/>
              </a:rPr>
              <a:t>l</a:t>
            </a: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TextBox 18"/>
          <p:cNvSpPr txBox="1"/>
          <p:nvPr/>
        </p:nvSpPr>
        <p:spPr>
          <a:xfrm>
            <a:off x="2860601" y="3501478"/>
            <a:ext cx="795411" cy="3847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smtClean="0">
                <a:ln>
                  <a:noFill/>
                </a:ln>
                <a:solidFill>
                  <a:sysClr val="window" lastClr="FFFFFF"/>
                </a:solidFill>
                <a:effectLst/>
                <a:uLnTx/>
                <a:uFillTx/>
              </a:rPr>
              <a:t>Push</a:t>
            </a:r>
            <a:r>
              <a:rPr kumimoji="0" lang="en-US" sz="1800" b="0" i="0" u="none" strike="noStrike" kern="0" cap="none" spc="0" normalizeH="0" baseline="0" noProof="0" dirty="0" err="1" smtClean="0">
                <a:ln>
                  <a:noFill/>
                </a:ln>
                <a:solidFill>
                  <a:sysClr val="windowText" lastClr="000000"/>
                </a:solidFill>
                <a:effectLst/>
                <a:uLnTx/>
                <a:uFillTx/>
              </a:rPr>
              <a:t>l</a:t>
            </a:r>
            <a:endParaRPr kumimoji="0" lang="en-US" sz="1800" b="0" i="0" u="none" strike="noStrike" kern="0" cap="none" spc="0" normalizeH="0" baseline="0" noProof="0" dirty="0">
              <a:ln>
                <a:noFill/>
              </a:ln>
              <a:solidFill>
                <a:sysClr val="windowText" lastClr="000000"/>
              </a:solidFill>
              <a:effectLst/>
              <a:uLnTx/>
              <a:uFillTx/>
            </a:endParaRPr>
          </a:p>
        </p:txBody>
      </p:sp>
      <p:sp>
        <p:nvSpPr>
          <p:cNvPr id="3" name="Title 2"/>
          <p:cNvSpPr>
            <a:spLocks noGrp="1"/>
          </p:cNvSpPr>
          <p:nvPr>
            <p:ph type="title"/>
          </p:nvPr>
        </p:nvSpPr>
        <p:spPr/>
        <p:txBody>
          <a:bodyPr/>
          <a:lstStyle/>
          <a:p>
            <a:pPr lvl="0"/>
            <a:r>
              <a:rPr lang="en-US" spc="0" dirty="0">
                <a:ln>
                  <a:noFill/>
                </a:ln>
                <a:solidFill>
                  <a:srgbClr val="FFFFFF">
                    <a:alpha val="99000"/>
                  </a:srgbClr>
                </a:solidFill>
                <a:latin typeface="Arial"/>
                <a:cs typeface="Arial"/>
              </a:rPr>
              <a:t>Pull DP Hub And Spoke Model Example</a:t>
            </a:r>
            <a:br>
              <a:rPr lang="en-US" spc="0" dirty="0">
                <a:ln>
                  <a:noFill/>
                </a:ln>
                <a:solidFill>
                  <a:srgbClr val="FFFFFF">
                    <a:alpha val="99000"/>
                  </a:srgbClr>
                </a:solidFill>
                <a:latin typeface="Arial"/>
                <a:cs typeface="Arial"/>
              </a:rPr>
            </a:br>
            <a:endParaRPr lang="en-US"/>
          </a:p>
        </p:txBody>
      </p:sp>
    </p:spTree>
    <p:extLst>
      <p:ext uri="{BB962C8B-B14F-4D97-AF65-F5344CB8AC3E}">
        <p14:creationId xmlns:p14="http://schemas.microsoft.com/office/powerpoint/2010/main" val="323327133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oud Distribution Point</a:t>
            </a:r>
            <a:endParaRPr lang="en-US" dirty="0"/>
          </a:p>
        </p:txBody>
      </p:sp>
      <p:sp>
        <p:nvSpPr>
          <p:cNvPr id="3" name="Text Placeholder 2"/>
          <p:cNvSpPr>
            <a:spLocks noGrp="1"/>
          </p:cNvSpPr>
          <p:nvPr>
            <p:ph type="body" sz="quarter" idx="10"/>
          </p:nvPr>
        </p:nvSpPr>
        <p:spPr>
          <a:xfrm>
            <a:off x="274638" y="1212850"/>
            <a:ext cx="11887200" cy="5139869"/>
          </a:xfrm>
        </p:spPr>
        <p:txBody>
          <a:bodyPr/>
          <a:lstStyle/>
          <a:p>
            <a:r>
              <a:rPr lang="en-US" dirty="0" smtClean="0"/>
              <a:t>What are the operational benefits of Cloud DP?</a:t>
            </a:r>
          </a:p>
          <a:p>
            <a:pPr lvl="1"/>
            <a:r>
              <a:rPr lang="en-US" dirty="0" smtClean="0"/>
              <a:t>No need to deploy HW to each location</a:t>
            </a:r>
          </a:p>
          <a:p>
            <a:pPr lvl="1"/>
            <a:r>
              <a:rPr lang="en-US" dirty="0" smtClean="0"/>
              <a:t>Add remove resources on demand </a:t>
            </a:r>
          </a:p>
          <a:p>
            <a:pPr lvl="1"/>
            <a:r>
              <a:rPr lang="en-US" dirty="0" smtClean="0"/>
              <a:t>Server roles in Windows Azure are automatically patched. </a:t>
            </a:r>
          </a:p>
          <a:p>
            <a:pPr lvl="1"/>
            <a:r>
              <a:rPr lang="en-US" dirty="0" smtClean="0"/>
              <a:t>99.9% availability of servers hosted in Azure</a:t>
            </a:r>
          </a:p>
          <a:p>
            <a:pPr lvl="0"/>
            <a:r>
              <a:rPr lang="en-US" dirty="0" smtClean="0"/>
              <a:t>What are the deployment benefits of Cloud DP?</a:t>
            </a:r>
          </a:p>
          <a:p>
            <a:pPr lvl="1"/>
            <a:r>
              <a:rPr lang="en-US" dirty="0" smtClean="0"/>
              <a:t>Significant decrease in </a:t>
            </a:r>
            <a:r>
              <a:rPr lang="en-US" dirty="0" err="1" smtClean="0"/>
              <a:t>ConfigMgr</a:t>
            </a:r>
            <a:r>
              <a:rPr lang="en-US" dirty="0" smtClean="0"/>
              <a:t> deployment time</a:t>
            </a:r>
          </a:p>
          <a:p>
            <a:pPr lvl="1"/>
            <a:r>
              <a:rPr lang="en-US" dirty="0" smtClean="0"/>
              <a:t>Can keep existing tools/automation/3rd party tools ecosystem </a:t>
            </a:r>
          </a:p>
          <a:p>
            <a:pPr lvl="1"/>
            <a:r>
              <a:rPr lang="en-US" dirty="0" smtClean="0"/>
              <a:t>Integrated with existing experience (cloud services appear same as on-premise resources)</a:t>
            </a:r>
          </a:p>
          <a:p>
            <a:pPr lvl="0"/>
            <a:endParaRPr lang="en-US" dirty="0" smtClean="0"/>
          </a:p>
          <a:p>
            <a:pPr lvl="0"/>
            <a:endParaRPr lang="en-US" dirty="0" smtClean="0"/>
          </a:p>
        </p:txBody>
      </p:sp>
    </p:spTree>
    <p:extLst>
      <p:ext uri="{BB962C8B-B14F-4D97-AF65-F5344CB8AC3E}">
        <p14:creationId xmlns:p14="http://schemas.microsoft.com/office/powerpoint/2010/main" val="205572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96" dirty="0" smtClean="0"/>
              <a:t>Improved Content Management</a:t>
            </a:r>
            <a:endParaRPr lang="en-US" sz="4896" dirty="0"/>
          </a:p>
        </p:txBody>
      </p:sp>
      <p:sp>
        <p:nvSpPr>
          <p:cNvPr id="3" name="Text Placeholder 2"/>
          <p:cNvSpPr>
            <a:spLocks noGrp="1"/>
          </p:cNvSpPr>
          <p:nvPr>
            <p:ph sz="quarter" idx="10"/>
          </p:nvPr>
        </p:nvSpPr>
        <p:spPr/>
        <p:txBody>
          <a:bodyPr/>
          <a:lstStyle/>
          <a:p>
            <a:r>
              <a:rPr lang="en-US" sz="2856" dirty="0"/>
              <a:t>In-console monitoring improvements</a:t>
            </a:r>
          </a:p>
          <a:p>
            <a:pPr marL="642779" lvl="2" indent="-352962"/>
            <a:r>
              <a:rPr lang="en-US" sz="2040" dirty="0"/>
              <a:t>Pull DP on par with standard DP</a:t>
            </a:r>
          </a:p>
          <a:p>
            <a:pPr marL="642779" lvl="2" indent="-352962"/>
            <a:r>
              <a:rPr lang="en-US" sz="2040" dirty="0"/>
              <a:t>Clearer and more detailed messages</a:t>
            </a:r>
          </a:p>
          <a:p>
            <a:pPr marL="642779" lvl="2" indent="-352962"/>
            <a:r>
              <a:rPr lang="en-US" sz="2040" dirty="0"/>
              <a:t>Cancel/Redistribute</a:t>
            </a:r>
          </a:p>
          <a:p>
            <a:r>
              <a:rPr lang="en-US" sz="2856" dirty="0"/>
              <a:t>Pull DP improvements</a:t>
            </a:r>
          </a:p>
          <a:p>
            <a:pPr lvl="1"/>
            <a:r>
              <a:rPr lang="en-US" sz="2040" dirty="0"/>
              <a:t>Source DP ordering and randomization</a:t>
            </a:r>
          </a:p>
          <a:p>
            <a:pPr lvl="1"/>
            <a:r>
              <a:rPr lang="en-US" sz="2040" dirty="0"/>
              <a:t>Improved scalability (no more polling)</a:t>
            </a:r>
          </a:p>
          <a:p>
            <a:pPr lvl="1"/>
            <a:r>
              <a:rPr lang="en-US" sz="2040" dirty="0"/>
              <a:t>Migration of branch DP’s to pull DP’s</a:t>
            </a:r>
          </a:p>
          <a:p>
            <a:r>
              <a:rPr lang="en-US" sz="2856" dirty="0"/>
              <a:t>General content improvements</a:t>
            </a:r>
          </a:p>
          <a:p>
            <a:pPr lvl="1"/>
            <a:r>
              <a:rPr lang="en-US" sz="2040" dirty="0"/>
              <a:t>Content download optimizations (client side) for superseded applications</a:t>
            </a:r>
          </a:p>
          <a:p>
            <a:pPr lvl="1"/>
            <a:r>
              <a:rPr lang="en-US" sz="2040" dirty="0"/>
              <a:t>Content distribution optimizations (priority, send requests in SQL, versioning auto-cancel)</a:t>
            </a:r>
          </a:p>
          <a:p>
            <a:pPr lvl="1"/>
            <a:r>
              <a:rPr lang="en-US" sz="2040" dirty="0"/>
              <a:t>New report: Distribution Point Usage</a:t>
            </a:r>
          </a:p>
        </p:txBody>
      </p:sp>
      <p:grpSp>
        <p:nvGrpSpPr>
          <p:cNvPr id="5" name="Group 4"/>
          <p:cNvGrpSpPr/>
          <p:nvPr/>
        </p:nvGrpSpPr>
        <p:grpSpPr>
          <a:xfrm>
            <a:off x="7290133" y="827924"/>
            <a:ext cx="5890269" cy="1709909"/>
            <a:chOff x="7846724" y="688776"/>
            <a:chExt cx="5890269" cy="1709909"/>
          </a:xfrm>
        </p:grpSpPr>
        <p:sp>
          <p:nvSpPr>
            <p:cNvPr id="7" name="Explosion 2 6"/>
            <p:cNvSpPr/>
            <p:nvPr/>
          </p:nvSpPr>
          <p:spPr bwMode="auto">
            <a:xfrm rot="329436">
              <a:off x="7846724" y="688776"/>
              <a:ext cx="5890269" cy="1709909"/>
            </a:xfrm>
            <a:prstGeom prst="irregularSeal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extBox 7"/>
            <p:cNvSpPr txBox="1"/>
            <p:nvPr/>
          </p:nvSpPr>
          <p:spPr>
            <a:xfrm>
              <a:off x="8772569" y="1100470"/>
              <a:ext cx="3836839"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ew in </a:t>
              </a:r>
              <a:r>
                <a:rPr lang="en-US" sz="2000" dirty="0" err="1" smtClean="0">
                  <a:gradFill>
                    <a:gsLst>
                      <a:gs pos="2917">
                        <a:schemeClr val="tx1"/>
                      </a:gs>
                      <a:gs pos="30000">
                        <a:schemeClr val="tx1"/>
                      </a:gs>
                    </a:gsLst>
                    <a:lin ang="5400000" scaled="0"/>
                  </a:gradFill>
                </a:rPr>
                <a:t>ConfigMgr</a:t>
              </a:r>
              <a:r>
                <a:rPr lang="en-US" sz="2000" dirty="0" smtClean="0">
                  <a:gradFill>
                    <a:gsLst>
                      <a:gs pos="2917">
                        <a:schemeClr val="tx1"/>
                      </a:gs>
                      <a:gs pos="30000">
                        <a:schemeClr val="tx1"/>
                      </a:gs>
                    </a:gsLst>
                    <a:lin ang="5400000" scaled="0"/>
                  </a:gradFill>
                </a:rPr>
                <a:t> 2012 R2 and Next Major </a:t>
              </a:r>
              <a:r>
                <a:rPr lang="en-US" sz="2000" dirty="0" err="1" smtClean="0">
                  <a:gradFill>
                    <a:gsLst>
                      <a:gs pos="2917">
                        <a:schemeClr val="tx1"/>
                      </a:gs>
                      <a:gs pos="30000">
                        <a:schemeClr val="tx1"/>
                      </a:gs>
                    </a:gsLst>
                    <a:lin ang="5400000" scaled="0"/>
                  </a:gradFill>
                </a:rPr>
                <a:t>Intune</a:t>
              </a:r>
              <a:r>
                <a:rPr lang="en-US" sz="2000" dirty="0" smtClean="0">
                  <a:gradFill>
                    <a:gsLst>
                      <a:gs pos="2917">
                        <a:schemeClr val="tx1"/>
                      </a:gs>
                      <a:gs pos="30000">
                        <a:schemeClr val="tx1"/>
                      </a:gs>
                    </a:gsLst>
                    <a:lin ang="5400000" scaled="0"/>
                  </a:gradFill>
                </a:rPr>
                <a:t> version</a:t>
              </a:r>
            </a:p>
          </p:txBody>
        </p:sp>
      </p:grpSp>
    </p:spTree>
    <p:extLst>
      <p:ext uri="{BB962C8B-B14F-4D97-AF65-F5344CB8AC3E}">
        <p14:creationId xmlns:p14="http://schemas.microsoft.com/office/powerpoint/2010/main" val="56070882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bution Point Usage Report</a:t>
            </a:r>
            <a:endParaRPr lang="en-US" dirty="0"/>
          </a:p>
        </p:txBody>
      </p:sp>
      <p:pic>
        <p:nvPicPr>
          <p:cNvPr id="1026" name="Picture 2"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89443" y="1080843"/>
            <a:ext cx="7454387" cy="532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7846724" y="688776"/>
            <a:ext cx="5890269" cy="1709909"/>
            <a:chOff x="7846724" y="688776"/>
            <a:chExt cx="5890269" cy="1709909"/>
          </a:xfrm>
        </p:grpSpPr>
        <p:sp>
          <p:nvSpPr>
            <p:cNvPr id="9" name="Explosion 2 8"/>
            <p:cNvSpPr/>
            <p:nvPr/>
          </p:nvSpPr>
          <p:spPr bwMode="auto">
            <a:xfrm rot="329436">
              <a:off x="7846724" y="688776"/>
              <a:ext cx="5890269" cy="1709909"/>
            </a:xfrm>
            <a:prstGeom prst="irregularSeal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p:nvSpPr>
          <p:spPr>
            <a:xfrm>
              <a:off x="8772569" y="1100470"/>
              <a:ext cx="3836839"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ew in </a:t>
              </a:r>
              <a:r>
                <a:rPr lang="en-US" sz="2000" dirty="0" err="1" smtClean="0">
                  <a:gradFill>
                    <a:gsLst>
                      <a:gs pos="2917">
                        <a:schemeClr val="tx1"/>
                      </a:gs>
                      <a:gs pos="30000">
                        <a:schemeClr val="tx1"/>
                      </a:gs>
                    </a:gsLst>
                    <a:lin ang="5400000" scaled="0"/>
                  </a:gradFill>
                </a:rPr>
                <a:t>ConfigMgr</a:t>
              </a:r>
              <a:r>
                <a:rPr lang="en-US" sz="2000" dirty="0" smtClean="0">
                  <a:gradFill>
                    <a:gsLst>
                      <a:gs pos="2917">
                        <a:schemeClr val="tx1"/>
                      </a:gs>
                      <a:gs pos="30000">
                        <a:schemeClr val="tx1"/>
                      </a:gs>
                    </a:gsLst>
                    <a:lin ang="5400000" scaled="0"/>
                  </a:gradFill>
                </a:rPr>
                <a:t> 2012 R2 and Next Major </a:t>
              </a:r>
              <a:r>
                <a:rPr lang="en-US" sz="2000" dirty="0" err="1" smtClean="0">
                  <a:gradFill>
                    <a:gsLst>
                      <a:gs pos="2917">
                        <a:schemeClr val="tx1"/>
                      </a:gs>
                      <a:gs pos="30000">
                        <a:schemeClr val="tx1"/>
                      </a:gs>
                    </a:gsLst>
                    <a:lin ang="5400000" scaled="0"/>
                  </a:gradFill>
                </a:rPr>
                <a:t>Intune</a:t>
              </a:r>
              <a:r>
                <a:rPr lang="en-US" sz="2000" dirty="0" smtClean="0">
                  <a:gradFill>
                    <a:gsLst>
                      <a:gs pos="2917">
                        <a:schemeClr val="tx1"/>
                      </a:gs>
                      <a:gs pos="30000">
                        <a:schemeClr val="tx1"/>
                      </a:gs>
                    </a:gsLst>
                    <a:lin ang="5400000" scaled="0"/>
                  </a:gradFill>
                </a:rPr>
                <a:t> version</a:t>
              </a:r>
            </a:p>
          </p:txBody>
        </p:sp>
      </p:grpSp>
    </p:spTree>
    <p:extLst>
      <p:ext uri="{BB962C8B-B14F-4D97-AF65-F5344CB8AC3E}">
        <p14:creationId xmlns:p14="http://schemas.microsoft.com/office/powerpoint/2010/main" val="366842762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smtClean="0"/>
              <a:t>Replication Traffic Reports</a:t>
            </a:r>
            <a:endParaRPr lang="en-US"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3963" y="1897062"/>
            <a:ext cx="9829800" cy="4162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73551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Challenges</a:t>
            </a:r>
            <a:endParaRPr lang="en-US" dirty="0"/>
          </a:p>
        </p:txBody>
      </p:sp>
      <p:sp>
        <p:nvSpPr>
          <p:cNvPr id="4" name="Rectangle 3"/>
          <p:cNvSpPr/>
          <p:nvPr/>
        </p:nvSpPr>
        <p:spPr bwMode="auto">
          <a:xfrm>
            <a:off x="371304" y="1403873"/>
            <a:ext cx="11731399" cy="49485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8" name="Group 127"/>
          <p:cNvGrpSpPr/>
          <p:nvPr/>
        </p:nvGrpSpPr>
        <p:grpSpPr>
          <a:xfrm>
            <a:off x="6443436" y="1515772"/>
            <a:ext cx="2605050" cy="4276031"/>
            <a:chOff x="4781054" y="-3123506"/>
            <a:chExt cx="2605050" cy="4276031"/>
          </a:xfrm>
        </p:grpSpPr>
        <p:sp>
          <p:nvSpPr>
            <p:cNvPr id="129" name="Text Placeholder 12"/>
            <p:cNvSpPr txBox="1">
              <a:spLocks/>
            </p:cNvSpPr>
            <p:nvPr/>
          </p:nvSpPr>
          <p:spPr>
            <a:xfrm>
              <a:off x="4781054" y="487728"/>
              <a:ext cx="2605050" cy="6647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43295" rtl="0" eaLnBrk="1" fontAlgn="auto" latinLnBrk="0" hangingPunct="1">
                <a:lnSpc>
                  <a:spcPct val="90000"/>
                </a:lnSpc>
                <a:spcBef>
                  <a:spcPts val="0"/>
                </a:spcBef>
                <a:spcAft>
                  <a:spcPts val="1224"/>
                </a:spcAft>
                <a:buClrTx/>
                <a:buSzPct val="90000"/>
                <a:buFont typeface="Arial" pitchFamily="34" charset="0"/>
                <a:buNone/>
                <a:tabLst/>
                <a:defRPr/>
              </a:pP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Deploying and managing </a:t>
              </a:r>
              <a:r>
                <a:rPr kumimoji="0" lang="en-US" sz="1600" b="0"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rPr>
                <a:t>applications</a:t>
              </a: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 </a:t>
              </a:r>
              <a:r>
                <a:rPr kumimoji="0" lang="en-US" sz="1600" b="1"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across platforms </a:t>
              </a: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is difficult.</a:t>
              </a:r>
              <a:endParaRPr kumimoji="0" lang="en-US" sz="1600" b="0"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endParaRPr>
            </a:p>
          </p:txBody>
        </p:sp>
        <p:sp>
          <p:nvSpPr>
            <p:cNvPr id="130" name="Text Placeholder 12"/>
            <p:cNvSpPr txBox="1">
              <a:spLocks/>
            </p:cNvSpPr>
            <p:nvPr/>
          </p:nvSpPr>
          <p:spPr>
            <a:xfrm>
              <a:off x="5277045" y="-112942"/>
              <a:ext cx="1236539"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400" b="1" i="0" u="none" strike="noStrike" kern="1200" cap="none" spc="0" normalizeH="0" baseline="0" noProof="0" dirty="0">
                  <a:ln>
                    <a:noFill/>
                  </a:ln>
                  <a:solidFill>
                    <a:srgbClr val="FF8C00"/>
                  </a:solidFill>
                  <a:effectLst/>
                  <a:uLnTx/>
                  <a:uFillTx/>
                  <a:latin typeface="Segoe UI" pitchFamily="34" charset="0"/>
                  <a:ea typeface="Segoe UI" pitchFamily="34" charset="0"/>
                  <a:cs typeface="Segoe UI" pitchFamily="34" charset="0"/>
                </a:rPr>
                <a:t>Apps</a:t>
              </a:r>
            </a:p>
          </p:txBody>
        </p:sp>
        <p:grpSp>
          <p:nvGrpSpPr>
            <p:cNvPr id="131" name="Group 130"/>
            <p:cNvGrpSpPr/>
            <p:nvPr/>
          </p:nvGrpSpPr>
          <p:grpSpPr>
            <a:xfrm>
              <a:off x="5046546" y="-3123506"/>
              <a:ext cx="1674215" cy="2510160"/>
              <a:chOff x="8801281" y="216504"/>
              <a:chExt cx="1491445" cy="2236132"/>
            </a:xfrm>
          </p:grpSpPr>
          <p:grpSp>
            <p:nvGrpSpPr>
              <p:cNvPr id="132" name="Group 131"/>
              <p:cNvGrpSpPr/>
              <p:nvPr/>
            </p:nvGrpSpPr>
            <p:grpSpPr>
              <a:xfrm>
                <a:off x="8801281" y="216504"/>
                <a:ext cx="1491445" cy="2236132"/>
                <a:chOff x="6649918" y="1518736"/>
                <a:chExt cx="1632914" cy="2448236"/>
              </a:xfrm>
            </p:grpSpPr>
            <p:sp>
              <p:nvSpPr>
                <p:cNvPr id="143"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rgbClr val="FF8C00"/>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4"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F8C00"/>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5"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rgbClr val="FF8C00"/>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6"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rgbClr val="FF8C00"/>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7"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grpSp>
          <p:grpSp>
            <p:nvGrpSpPr>
              <p:cNvPr id="133" name="Group 29"/>
              <p:cNvGrpSpPr>
                <a:grpSpLocks noChangeAspect="1"/>
              </p:cNvGrpSpPr>
              <p:nvPr/>
            </p:nvGrpSpPr>
            <p:grpSpPr bwMode="auto">
              <a:xfrm>
                <a:off x="8804898" y="979278"/>
                <a:ext cx="701892" cy="703330"/>
                <a:chOff x="5541" y="601"/>
                <a:chExt cx="488" cy="489"/>
              </a:xfrm>
              <a:solidFill>
                <a:srgbClr val="FF8C00"/>
              </a:solidFill>
            </p:grpSpPr>
            <p:sp>
              <p:nvSpPr>
                <p:cNvPr id="134"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5"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6"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7"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8"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9"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0"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1"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2"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grp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grpSp>
      <p:grpSp>
        <p:nvGrpSpPr>
          <p:cNvPr id="148" name="Group 147"/>
          <p:cNvGrpSpPr/>
          <p:nvPr/>
        </p:nvGrpSpPr>
        <p:grpSpPr>
          <a:xfrm>
            <a:off x="9377082" y="1493977"/>
            <a:ext cx="2603757" cy="4520890"/>
            <a:chOff x="9377082" y="1493977"/>
            <a:chExt cx="2603757" cy="4520890"/>
          </a:xfrm>
        </p:grpSpPr>
        <p:sp>
          <p:nvSpPr>
            <p:cNvPr id="149" name="Text Placeholder 12"/>
            <p:cNvSpPr txBox="1">
              <a:spLocks/>
            </p:cNvSpPr>
            <p:nvPr/>
          </p:nvSpPr>
          <p:spPr>
            <a:xfrm>
              <a:off x="10189392" y="4527800"/>
              <a:ext cx="1013706"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400" b="1" i="0" u="none" strike="noStrike" kern="1200" cap="none" spc="0" normalizeH="0" baseline="0" noProof="0" dirty="0">
                  <a:ln>
                    <a:noFill/>
                  </a:ln>
                  <a:solidFill>
                    <a:srgbClr val="442359"/>
                  </a:solidFill>
                  <a:effectLst/>
                  <a:uLnTx/>
                  <a:uFillTx/>
                  <a:latin typeface="Segoe UI" pitchFamily="34" charset="0"/>
                  <a:ea typeface="Segoe UI" pitchFamily="34" charset="0"/>
                  <a:cs typeface="Segoe UI" pitchFamily="34" charset="0"/>
                </a:rPr>
                <a:t>Data</a:t>
              </a:r>
            </a:p>
          </p:txBody>
        </p:sp>
        <p:sp>
          <p:nvSpPr>
            <p:cNvPr id="150" name="Text Placeholder 12"/>
            <p:cNvSpPr txBox="1">
              <a:spLocks/>
            </p:cNvSpPr>
            <p:nvPr/>
          </p:nvSpPr>
          <p:spPr>
            <a:xfrm>
              <a:off x="9377082" y="5128470"/>
              <a:ext cx="2603757" cy="8863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43295" rtl="0" eaLnBrk="1" fontAlgn="auto" latinLnBrk="0" hangingPunct="1">
                <a:lnSpc>
                  <a:spcPct val="90000"/>
                </a:lnSpc>
                <a:spcBef>
                  <a:spcPts val="0"/>
                </a:spcBef>
                <a:spcAft>
                  <a:spcPts val="1224"/>
                </a:spcAft>
                <a:buClrTx/>
                <a:buSzPct val="90000"/>
                <a:buFont typeface="Arial" pitchFamily="34" charset="0"/>
                <a:buNone/>
                <a:tabLst/>
                <a:defRPr/>
              </a:pP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Users need to be productive while </a:t>
              </a:r>
              <a:r>
                <a:rPr kumimoji="0" lang="en-US" sz="1600" b="1"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maintaining compliance and reducing risk.</a:t>
              </a:r>
              <a:endParaRPr kumimoji="0" lang="en-US" sz="1600" b="1"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endParaRPr>
            </a:p>
          </p:txBody>
        </p:sp>
        <p:sp>
          <p:nvSpPr>
            <p:cNvPr id="151" name="Freeform 331"/>
            <p:cNvSpPr>
              <a:spLocks noChangeAspect="1" noEditPoints="1"/>
            </p:cNvSpPr>
            <p:nvPr/>
          </p:nvSpPr>
          <p:spPr bwMode="auto">
            <a:xfrm>
              <a:off x="10003498" y="2357157"/>
              <a:ext cx="792531" cy="77729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52" name="Freeform 346"/>
            <p:cNvSpPr>
              <a:spLocks noChangeAspect="1" noEditPoints="1"/>
            </p:cNvSpPr>
            <p:nvPr/>
          </p:nvSpPr>
          <p:spPr bwMode="auto">
            <a:xfrm>
              <a:off x="10978938" y="2441397"/>
              <a:ext cx="810401" cy="46280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53" name="Freeform 37"/>
            <p:cNvSpPr>
              <a:spLocks noEditPoints="1"/>
            </p:cNvSpPr>
            <p:nvPr/>
          </p:nvSpPr>
          <p:spPr bwMode="auto">
            <a:xfrm>
              <a:off x="10764801" y="1524029"/>
              <a:ext cx="1024538" cy="679243"/>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pic>
          <p:nvPicPr>
            <p:cNvPr id="154" name="Picture 1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65892" y="1493977"/>
              <a:ext cx="484577" cy="733242"/>
            </a:xfrm>
            <a:prstGeom prst="rect">
              <a:avLst/>
            </a:prstGeom>
          </p:spPr>
        </p:pic>
        <p:pic>
          <p:nvPicPr>
            <p:cNvPr id="155" name="Picture 15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77687" y="3219801"/>
              <a:ext cx="1072122" cy="714748"/>
            </a:xfrm>
            <a:prstGeom prst="rect">
              <a:avLst/>
            </a:prstGeom>
          </p:spPr>
        </p:pic>
      </p:grpSp>
      <p:grpSp>
        <p:nvGrpSpPr>
          <p:cNvPr id="156" name="Group 155"/>
          <p:cNvGrpSpPr/>
          <p:nvPr/>
        </p:nvGrpSpPr>
        <p:grpSpPr>
          <a:xfrm>
            <a:off x="443020" y="1542030"/>
            <a:ext cx="2384070" cy="4472837"/>
            <a:chOff x="443020" y="1542030"/>
            <a:chExt cx="2384070" cy="4472837"/>
          </a:xfrm>
        </p:grpSpPr>
        <p:sp>
          <p:nvSpPr>
            <p:cNvPr id="157" name="Text Placeholder 12"/>
            <p:cNvSpPr txBox="1">
              <a:spLocks/>
            </p:cNvSpPr>
            <p:nvPr/>
          </p:nvSpPr>
          <p:spPr>
            <a:xfrm>
              <a:off x="443020" y="5128470"/>
              <a:ext cx="2384070" cy="88639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1600" b="0"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rPr>
                <a:t>Users</a:t>
              </a:r>
              <a:r>
                <a:rPr kumimoji="0" lang="en-US" sz="1600" b="0" i="0" u="none" strike="noStrike" kern="1200" cap="none" spc="0" normalizeH="0" baseline="0" noProof="0" dirty="0" smtClean="0">
                  <a:ln>
                    <a:noFill/>
                  </a:ln>
                  <a:solidFill>
                    <a:srgbClr val="00187B"/>
                  </a:solidFill>
                  <a:effectLst/>
                  <a:uLnTx/>
                  <a:uFillTx/>
                  <a:latin typeface="Segoe UI" pitchFamily="34" charset="0"/>
                  <a:ea typeface="Segoe UI" pitchFamily="34" charset="0"/>
                  <a:cs typeface="Segoe UI" pitchFamily="34" charset="0"/>
                </a:rPr>
                <a:t> </a:t>
              </a: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expect to be able to </a:t>
              </a:r>
              <a:r>
                <a:rPr kumimoji="0" lang="en-US" sz="1600" b="1"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work in any location </a:t>
              </a: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and have access to all their work resources.</a:t>
              </a:r>
              <a:endParaRPr kumimoji="0" lang="en-US" sz="1600" b="0"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endParaRPr>
            </a:p>
          </p:txBody>
        </p:sp>
        <p:sp>
          <p:nvSpPr>
            <p:cNvPr id="158" name="Text Placeholder 12"/>
            <p:cNvSpPr txBox="1">
              <a:spLocks/>
            </p:cNvSpPr>
            <p:nvPr/>
          </p:nvSpPr>
          <p:spPr>
            <a:xfrm>
              <a:off x="1098248" y="4527800"/>
              <a:ext cx="930174"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400" b="1" i="0" u="none" strike="noStrike" kern="1200" cap="none" spc="0" normalizeH="0" baseline="0" noProof="0" dirty="0">
                  <a:ln>
                    <a:noFill/>
                  </a:ln>
                  <a:solidFill>
                    <a:srgbClr val="00187B"/>
                  </a:solidFill>
                  <a:effectLst/>
                  <a:uLnTx/>
                  <a:uFillTx/>
                  <a:latin typeface="Segoe UI" pitchFamily="34" charset="0"/>
                  <a:ea typeface="Segoe UI" pitchFamily="34" charset="0"/>
                  <a:cs typeface="Segoe UI" pitchFamily="34" charset="0"/>
                </a:rPr>
                <a:t>Users</a:t>
              </a:r>
            </a:p>
          </p:txBody>
        </p:sp>
        <p:sp>
          <p:nvSpPr>
            <p:cNvPr id="159" name="Freeform 5"/>
            <p:cNvSpPr>
              <a:spLocks noEditPoints="1"/>
            </p:cNvSpPr>
            <p:nvPr/>
          </p:nvSpPr>
          <p:spPr bwMode="auto">
            <a:xfrm>
              <a:off x="735012" y="1542030"/>
              <a:ext cx="1627187" cy="244259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001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nvGrpSpPr>
          <p:cNvPr id="160" name="Group 159"/>
          <p:cNvGrpSpPr/>
          <p:nvPr/>
        </p:nvGrpSpPr>
        <p:grpSpPr>
          <a:xfrm>
            <a:off x="2438600" y="2344805"/>
            <a:ext cx="908202" cy="995918"/>
            <a:chOff x="2438600" y="2344805"/>
            <a:chExt cx="908202" cy="995918"/>
          </a:xfrm>
        </p:grpSpPr>
        <p:sp>
          <p:nvSpPr>
            <p:cNvPr id="161" name="Left-Right Arrow 160"/>
            <p:cNvSpPr/>
            <p:nvPr/>
          </p:nvSpPr>
          <p:spPr bwMode="auto">
            <a:xfrm rot="20751099">
              <a:off x="2438600" y="2344805"/>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2" name="Left-Right Arrow 161"/>
            <p:cNvSpPr/>
            <p:nvPr/>
          </p:nvSpPr>
          <p:spPr bwMode="auto">
            <a:xfrm>
              <a:off x="2472154" y="2727456"/>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3" name="Left-Right Arrow 162"/>
            <p:cNvSpPr/>
            <p:nvPr/>
          </p:nvSpPr>
          <p:spPr bwMode="auto">
            <a:xfrm rot="772051">
              <a:off x="2458387" y="3098879"/>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grpSp>
        <p:nvGrpSpPr>
          <p:cNvPr id="164" name="Group 163"/>
          <p:cNvGrpSpPr/>
          <p:nvPr/>
        </p:nvGrpSpPr>
        <p:grpSpPr>
          <a:xfrm>
            <a:off x="5364615" y="2322919"/>
            <a:ext cx="1199027" cy="1020103"/>
            <a:chOff x="5499184" y="2265769"/>
            <a:chExt cx="957967" cy="1020103"/>
          </a:xfrm>
        </p:grpSpPr>
        <p:sp>
          <p:nvSpPr>
            <p:cNvPr id="165" name="Left-Right Arrow 164"/>
            <p:cNvSpPr/>
            <p:nvPr/>
          </p:nvSpPr>
          <p:spPr bwMode="auto">
            <a:xfrm rot="20751099">
              <a:off x="5499184" y="2265769"/>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6" name="Left-Right Arrow 165"/>
            <p:cNvSpPr/>
            <p:nvPr/>
          </p:nvSpPr>
          <p:spPr bwMode="auto">
            <a:xfrm rot="20610885">
              <a:off x="5547900" y="2578570"/>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7" name="Left-Right Arrow 166"/>
            <p:cNvSpPr/>
            <p:nvPr/>
          </p:nvSpPr>
          <p:spPr bwMode="auto">
            <a:xfrm rot="668595">
              <a:off x="5548192" y="3026960"/>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8" name="Left-Right Arrow 167"/>
            <p:cNvSpPr/>
            <p:nvPr/>
          </p:nvSpPr>
          <p:spPr bwMode="auto">
            <a:xfrm rot="2249269">
              <a:off x="5510157" y="2373128"/>
              <a:ext cx="946994"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9" name="Left-Right Arrow 168"/>
            <p:cNvSpPr/>
            <p:nvPr/>
          </p:nvSpPr>
          <p:spPr bwMode="auto">
            <a:xfrm rot="20312622">
              <a:off x="5533564" y="3044028"/>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grpSp>
        <p:nvGrpSpPr>
          <p:cNvPr id="170" name="Group 169"/>
          <p:cNvGrpSpPr/>
          <p:nvPr/>
        </p:nvGrpSpPr>
        <p:grpSpPr>
          <a:xfrm>
            <a:off x="8617504" y="2076063"/>
            <a:ext cx="1156082" cy="1459400"/>
            <a:chOff x="8617504" y="2076063"/>
            <a:chExt cx="1156082" cy="1459400"/>
          </a:xfrm>
        </p:grpSpPr>
        <p:grpSp>
          <p:nvGrpSpPr>
            <p:cNvPr id="171" name="Group 170"/>
            <p:cNvGrpSpPr/>
            <p:nvPr/>
          </p:nvGrpSpPr>
          <p:grpSpPr>
            <a:xfrm>
              <a:off x="8626065" y="2076063"/>
              <a:ext cx="1113051" cy="677203"/>
              <a:chOff x="5533564" y="2627719"/>
              <a:chExt cx="889276" cy="677203"/>
            </a:xfrm>
          </p:grpSpPr>
          <p:sp>
            <p:nvSpPr>
              <p:cNvPr id="177" name="Left-Right Arrow 176"/>
              <p:cNvSpPr/>
              <p:nvPr/>
            </p:nvSpPr>
            <p:spPr bwMode="auto">
              <a:xfrm rot="1109394">
                <a:off x="5537234" y="2627719"/>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8" name="Left-Right Arrow 177"/>
              <p:cNvSpPr/>
              <p:nvPr/>
            </p:nvSpPr>
            <p:spPr bwMode="auto">
              <a:xfrm rot="20610885">
                <a:off x="5547900" y="2645245"/>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9" name="Left-Right Arrow 178"/>
              <p:cNvSpPr/>
              <p:nvPr/>
            </p:nvSpPr>
            <p:spPr bwMode="auto">
              <a:xfrm rot="668595">
                <a:off x="5548192" y="3026960"/>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80" name="Left-Right Arrow 179"/>
              <p:cNvSpPr/>
              <p:nvPr/>
            </p:nvSpPr>
            <p:spPr bwMode="auto">
              <a:xfrm rot="20675659">
                <a:off x="5533564" y="3063078"/>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grpSp>
          <p:nvGrpSpPr>
            <p:cNvPr id="172" name="Group 171"/>
            <p:cNvGrpSpPr/>
            <p:nvPr/>
          </p:nvGrpSpPr>
          <p:grpSpPr>
            <a:xfrm>
              <a:off x="8617504" y="2848735"/>
              <a:ext cx="1156082" cy="686728"/>
              <a:chOff x="5499184" y="2618194"/>
              <a:chExt cx="923656" cy="686728"/>
            </a:xfrm>
          </p:grpSpPr>
          <p:sp>
            <p:nvSpPr>
              <p:cNvPr id="173" name="Left-Right Arrow 172"/>
              <p:cNvSpPr/>
              <p:nvPr/>
            </p:nvSpPr>
            <p:spPr bwMode="auto">
              <a:xfrm rot="20751099">
                <a:off x="5499184" y="2618194"/>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4" name="Left-Right Arrow 173"/>
              <p:cNvSpPr/>
              <p:nvPr/>
            </p:nvSpPr>
            <p:spPr bwMode="auto">
              <a:xfrm rot="668595">
                <a:off x="5548192" y="3026960"/>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5" name="Left-Right Arrow 174"/>
              <p:cNvSpPr/>
              <p:nvPr/>
            </p:nvSpPr>
            <p:spPr bwMode="auto">
              <a:xfrm rot="20675659">
                <a:off x="5533564" y="3063078"/>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6" name="Left-Right Arrow 175"/>
              <p:cNvSpPr/>
              <p:nvPr/>
            </p:nvSpPr>
            <p:spPr bwMode="auto">
              <a:xfrm rot="690585">
                <a:off x="5537633" y="2645244"/>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grpSp>
      <p:grpSp>
        <p:nvGrpSpPr>
          <p:cNvPr id="181" name="Group 180"/>
          <p:cNvGrpSpPr/>
          <p:nvPr/>
        </p:nvGrpSpPr>
        <p:grpSpPr>
          <a:xfrm>
            <a:off x="3146698" y="1467374"/>
            <a:ext cx="2776436" cy="4325893"/>
            <a:chOff x="3146698" y="1467374"/>
            <a:chExt cx="2776436" cy="4325893"/>
          </a:xfrm>
        </p:grpSpPr>
        <p:grpSp>
          <p:nvGrpSpPr>
            <p:cNvPr id="182" name="Group 181"/>
            <p:cNvGrpSpPr/>
            <p:nvPr/>
          </p:nvGrpSpPr>
          <p:grpSpPr>
            <a:xfrm>
              <a:off x="3146698" y="1467374"/>
              <a:ext cx="2776436" cy="4325893"/>
              <a:chOff x="3146698" y="1467374"/>
              <a:chExt cx="2776436" cy="4325893"/>
            </a:xfrm>
          </p:grpSpPr>
          <p:sp>
            <p:nvSpPr>
              <p:cNvPr id="186" name="Text Placeholder 12"/>
              <p:cNvSpPr txBox="1">
                <a:spLocks/>
              </p:cNvSpPr>
              <p:nvPr/>
            </p:nvSpPr>
            <p:spPr>
              <a:xfrm>
                <a:off x="3146698" y="5128470"/>
                <a:ext cx="2776436" cy="6647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43295" rtl="0" eaLnBrk="1" fontAlgn="auto" latinLnBrk="0" hangingPunct="1">
                  <a:lnSpc>
                    <a:spcPct val="90000"/>
                  </a:lnSpc>
                  <a:spcBef>
                    <a:spcPts val="0"/>
                  </a:spcBef>
                  <a:spcAft>
                    <a:spcPts val="1224"/>
                  </a:spcAft>
                  <a:buClrTx/>
                  <a:buSzPct val="90000"/>
                  <a:buFont typeface="Arial" pitchFamily="34" charset="0"/>
                  <a:buNone/>
                  <a:tabLst/>
                  <a:defRPr/>
                </a:pP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The </a:t>
                </a:r>
                <a:r>
                  <a:rPr kumimoji="0" lang="en-US" sz="1600" b="1"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explosion of </a:t>
                </a:r>
                <a:r>
                  <a:rPr kumimoji="0" lang="en-US" sz="1600" b="1"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rPr>
                  <a:t>devices</a:t>
                </a:r>
                <a:r>
                  <a:rPr kumimoji="0" lang="en-US" sz="1600" b="1"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 </a:t>
                </a: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is eroding the standards-based approach to corporate IT.</a:t>
                </a:r>
                <a:endParaRPr kumimoji="0" lang="en-US" sz="1600" b="0"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endParaRPr>
              </a:p>
            </p:txBody>
          </p:sp>
          <p:sp>
            <p:nvSpPr>
              <p:cNvPr id="187" name="Text Placeholder 12"/>
              <p:cNvSpPr txBox="1">
                <a:spLocks/>
              </p:cNvSpPr>
              <p:nvPr/>
            </p:nvSpPr>
            <p:spPr>
              <a:xfrm>
                <a:off x="3841788" y="4526994"/>
                <a:ext cx="1135845"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400" b="1" i="0" u="none" strike="noStrike" kern="1200" cap="none" spc="0" normalizeH="0" baseline="0" noProof="0" dirty="0">
                    <a:ln>
                      <a:noFill/>
                    </a:ln>
                    <a:solidFill>
                      <a:srgbClr val="3D5800"/>
                    </a:solidFill>
                    <a:effectLst/>
                    <a:uLnTx/>
                    <a:uFillTx/>
                    <a:latin typeface="Segoe UI" pitchFamily="34" charset="0"/>
                    <a:ea typeface="Segoe UI" pitchFamily="34" charset="0"/>
                    <a:cs typeface="Segoe UI" pitchFamily="34" charset="0"/>
                  </a:rPr>
                  <a:t>Devices</a:t>
                </a:r>
                <a:endParaRPr kumimoji="0" lang="en-US" sz="2000" b="1" i="0" u="none" strike="noStrike" kern="1200" cap="none" spc="0" normalizeH="0" baseline="0" noProof="0" dirty="0">
                  <a:ln>
                    <a:noFill/>
                  </a:ln>
                  <a:solidFill>
                    <a:srgbClr val="3D5800"/>
                  </a:solidFill>
                  <a:effectLst/>
                  <a:uLnTx/>
                  <a:uFillTx/>
                  <a:latin typeface="Segoe UI" pitchFamily="34" charset="0"/>
                  <a:ea typeface="Segoe UI" pitchFamily="34" charset="0"/>
                  <a:cs typeface="Segoe UI" pitchFamily="34" charset="0"/>
                </a:endParaRPr>
              </a:p>
            </p:txBody>
          </p:sp>
          <p:sp>
            <p:nvSpPr>
              <p:cNvPr id="188" name="Freeform 24"/>
              <p:cNvSpPr>
                <a:spLocks noChangeAspect="1"/>
              </p:cNvSpPr>
              <p:nvPr/>
            </p:nvSpPr>
            <p:spPr bwMode="auto">
              <a:xfrm>
                <a:off x="3439936" y="2935259"/>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89" name="Freeform 25"/>
              <p:cNvSpPr>
                <a:spLocks noChangeAspect="1"/>
              </p:cNvSpPr>
              <p:nvPr/>
            </p:nvSpPr>
            <p:spPr bwMode="auto">
              <a:xfrm>
                <a:off x="3493556" y="2473258"/>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90" name="Freeform 26"/>
              <p:cNvSpPr>
                <a:spLocks noChangeAspect="1"/>
              </p:cNvSpPr>
              <p:nvPr/>
            </p:nvSpPr>
            <p:spPr bwMode="auto">
              <a:xfrm>
                <a:off x="3493556" y="2473258"/>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pic>
            <p:nvPicPr>
              <p:cNvPr id="191" name="Picture 19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94145" y="3300476"/>
                <a:ext cx="1216247" cy="811685"/>
              </a:xfrm>
              <a:prstGeom prst="rect">
                <a:avLst/>
              </a:prstGeom>
            </p:spPr>
          </p:pic>
          <p:pic>
            <p:nvPicPr>
              <p:cNvPr id="192" name="Picture 19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0331" y="2469871"/>
                <a:ext cx="416193" cy="769125"/>
              </a:xfrm>
              <a:prstGeom prst="rect">
                <a:avLst/>
              </a:prstGeom>
            </p:spPr>
          </p:pic>
          <p:pic>
            <p:nvPicPr>
              <p:cNvPr id="193" name="Picture 19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02268" y="1467374"/>
                <a:ext cx="957572" cy="957572"/>
              </a:xfrm>
              <a:prstGeom prst="rect">
                <a:avLst/>
              </a:prstGeom>
            </p:spPr>
          </p:pic>
          <p:pic>
            <p:nvPicPr>
              <p:cNvPr id="194" name="Picture 19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31697" y="1527079"/>
                <a:ext cx="607745" cy="788132"/>
              </a:xfrm>
              <a:prstGeom prst="rect">
                <a:avLst/>
              </a:prstGeom>
            </p:spPr>
          </p:pic>
        </p:grpSp>
        <p:grpSp>
          <p:nvGrpSpPr>
            <p:cNvPr id="183" name="Group 182"/>
            <p:cNvGrpSpPr>
              <a:grpSpLocks noChangeAspect="1"/>
            </p:cNvGrpSpPr>
            <p:nvPr/>
          </p:nvGrpSpPr>
          <p:grpSpPr bwMode="auto">
            <a:xfrm>
              <a:off x="3525260" y="2488797"/>
              <a:ext cx="835378" cy="714548"/>
              <a:chOff x="1063" y="2798"/>
              <a:chExt cx="961" cy="822"/>
            </a:xfrm>
          </p:grpSpPr>
          <p:sp>
            <p:nvSpPr>
              <p:cNvPr id="184" name="Freeform 6"/>
              <p:cNvSpPr>
                <a:spLocks noEditPoints="1"/>
              </p:cNvSpPr>
              <p:nvPr/>
            </p:nvSpPr>
            <p:spPr bwMode="auto">
              <a:xfrm>
                <a:off x="1063" y="2798"/>
                <a:ext cx="961" cy="822"/>
              </a:xfrm>
              <a:custGeom>
                <a:avLst/>
                <a:gdLst>
                  <a:gd name="T0" fmla="*/ 265 w 3843"/>
                  <a:gd name="T1" fmla="*/ 229 h 3287"/>
                  <a:gd name="T2" fmla="*/ 225 w 3843"/>
                  <a:gd name="T3" fmla="*/ 311 h 3287"/>
                  <a:gd name="T4" fmla="*/ 225 w 3843"/>
                  <a:gd name="T5" fmla="*/ 679 h 3287"/>
                  <a:gd name="T6" fmla="*/ 225 w 3843"/>
                  <a:gd name="T7" fmla="*/ 1741 h 3287"/>
                  <a:gd name="T8" fmla="*/ 227 w 3843"/>
                  <a:gd name="T9" fmla="*/ 2520 h 3287"/>
                  <a:gd name="T10" fmla="*/ 331 w 3843"/>
                  <a:gd name="T11" fmla="*/ 2598 h 3287"/>
                  <a:gd name="T12" fmla="*/ 403 w 3843"/>
                  <a:gd name="T13" fmla="*/ 2598 h 3287"/>
                  <a:gd name="T14" fmla="*/ 907 w 3843"/>
                  <a:gd name="T15" fmla="*/ 2598 h 3287"/>
                  <a:gd name="T16" fmla="*/ 1618 w 3843"/>
                  <a:gd name="T17" fmla="*/ 2598 h 3287"/>
                  <a:gd name="T18" fmla="*/ 2427 w 3843"/>
                  <a:gd name="T19" fmla="*/ 2598 h 3287"/>
                  <a:gd name="T20" fmla="*/ 3542 w 3843"/>
                  <a:gd name="T21" fmla="*/ 2596 h 3287"/>
                  <a:gd name="T22" fmla="*/ 3621 w 3843"/>
                  <a:gd name="T23" fmla="*/ 2495 h 3287"/>
                  <a:gd name="T24" fmla="*/ 3621 w 3843"/>
                  <a:gd name="T25" fmla="*/ 2223 h 3287"/>
                  <a:gd name="T26" fmla="*/ 3621 w 3843"/>
                  <a:gd name="T27" fmla="*/ 1873 h 3287"/>
                  <a:gd name="T28" fmla="*/ 3621 w 3843"/>
                  <a:gd name="T29" fmla="*/ 479 h 3287"/>
                  <a:gd name="T30" fmla="*/ 3563 w 3843"/>
                  <a:gd name="T31" fmla="*/ 218 h 3287"/>
                  <a:gd name="T32" fmla="*/ 3007 w 3843"/>
                  <a:gd name="T33" fmla="*/ 208 h 3287"/>
                  <a:gd name="T34" fmla="*/ 1722 w 3843"/>
                  <a:gd name="T35" fmla="*/ 208 h 3287"/>
                  <a:gd name="T36" fmla="*/ 131 w 3843"/>
                  <a:gd name="T37" fmla="*/ 0 h 3287"/>
                  <a:gd name="T38" fmla="*/ 456 w 3843"/>
                  <a:gd name="T39" fmla="*/ 0 h 3287"/>
                  <a:gd name="T40" fmla="*/ 1886 w 3843"/>
                  <a:gd name="T41" fmla="*/ 0 h 3287"/>
                  <a:gd name="T42" fmla="*/ 3774 w 3843"/>
                  <a:gd name="T43" fmla="*/ 11 h 3287"/>
                  <a:gd name="T44" fmla="*/ 3843 w 3843"/>
                  <a:gd name="T45" fmla="*/ 117 h 3287"/>
                  <a:gd name="T46" fmla="*/ 3843 w 3843"/>
                  <a:gd name="T47" fmla="*/ 127 h 3287"/>
                  <a:gd name="T48" fmla="*/ 3843 w 3843"/>
                  <a:gd name="T49" fmla="*/ 270 h 3287"/>
                  <a:gd name="T50" fmla="*/ 3843 w 3843"/>
                  <a:gd name="T51" fmla="*/ 633 h 3287"/>
                  <a:gd name="T52" fmla="*/ 3843 w 3843"/>
                  <a:gd name="T53" fmla="*/ 1340 h 3287"/>
                  <a:gd name="T54" fmla="*/ 3843 w 3843"/>
                  <a:gd name="T55" fmla="*/ 2007 h 3287"/>
                  <a:gd name="T56" fmla="*/ 3830 w 3843"/>
                  <a:gd name="T57" fmla="*/ 2743 h 3287"/>
                  <a:gd name="T58" fmla="*/ 3720 w 3843"/>
                  <a:gd name="T59" fmla="*/ 2811 h 3287"/>
                  <a:gd name="T60" fmla="*/ 3701 w 3843"/>
                  <a:gd name="T61" fmla="*/ 2811 h 3287"/>
                  <a:gd name="T62" fmla="*/ 3489 w 3843"/>
                  <a:gd name="T63" fmla="*/ 2811 h 3287"/>
                  <a:gd name="T64" fmla="*/ 3118 w 3843"/>
                  <a:gd name="T65" fmla="*/ 2811 h 3287"/>
                  <a:gd name="T66" fmla="*/ 2608 w 3843"/>
                  <a:gd name="T67" fmla="*/ 2815 h 3287"/>
                  <a:gd name="T68" fmla="*/ 2622 w 3843"/>
                  <a:gd name="T69" fmla="*/ 2938 h 3287"/>
                  <a:gd name="T70" fmla="*/ 2694 w 3843"/>
                  <a:gd name="T71" fmla="*/ 3043 h 3287"/>
                  <a:gd name="T72" fmla="*/ 2816 w 3843"/>
                  <a:gd name="T73" fmla="*/ 3066 h 3287"/>
                  <a:gd name="T74" fmla="*/ 2836 w 3843"/>
                  <a:gd name="T75" fmla="*/ 3067 h 3287"/>
                  <a:gd name="T76" fmla="*/ 2919 w 3843"/>
                  <a:gd name="T77" fmla="*/ 3153 h 3287"/>
                  <a:gd name="T78" fmla="*/ 2916 w 3843"/>
                  <a:gd name="T79" fmla="*/ 3224 h 3287"/>
                  <a:gd name="T80" fmla="*/ 2836 w 3843"/>
                  <a:gd name="T81" fmla="*/ 3287 h 3287"/>
                  <a:gd name="T82" fmla="*/ 2209 w 3843"/>
                  <a:gd name="T83" fmla="*/ 3287 h 3287"/>
                  <a:gd name="T84" fmla="*/ 1031 w 3843"/>
                  <a:gd name="T85" fmla="*/ 3285 h 3287"/>
                  <a:gd name="T86" fmla="*/ 971 w 3843"/>
                  <a:gd name="T87" fmla="*/ 3201 h 3287"/>
                  <a:gd name="T88" fmla="*/ 981 w 3843"/>
                  <a:gd name="T89" fmla="*/ 3110 h 3287"/>
                  <a:gd name="T90" fmla="*/ 1093 w 3843"/>
                  <a:gd name="T91" fmla="*/ 3062 h 3287"/>
                  <a:gd name="T92" fmla="*/ 1222 w 3843"/>
                  <a:gd name="T93" fmla="*/ 3039 h 3287"/>
                  <a:gd name="T94" fmla="*/ 1293 w 3843"/>
                  <a:gd name="T95" fmla="*/ 2938 h 3287"/>
                  <a:gd name="T96" fmla="*/ 1310 w 3843"/>
                  <a:gd name="T97" fmla="*/ 2815 h 3287"/>
                  <a:gd name="T98" fmla="*/ 1291 w 3843"/>
                  <a:gd name="T99" fmla="*/ 2811 h 3287"/>
                  <a:gd name="T100" fmla="*/ 1162 w 3843"/>
                  <a:gd name="T101" fmla="*/ 2811 h 3287"/>
                  <a:gd name="T102" fmla="*/ 812 w 3843"/>
                  <a:gd name="T103" fmla="*/ 2811 h 3287"/>
                  <a:gd name="T104" fmla="*/ 100 w 3843"/>
                  <a:gd name="T105" fmla="*/ 2808 h 3287"/>
                  <a:gd name="T106" fmla="*/ 0 w 3843"/>
                  <a:gd name="T107" fmla="*/ 2689 h 3287"/>
                  <a:gd name="T108" fmla="*/ 0 w 3843"/>
                  <a:gd name="T109" fmla="*/ 2682 h 3287"/>
                  <a:gd name="T110" fmla="*/ 0 w 3843"/>
                  <a:gd name="T111" fmla="*/ 2563 h 3287"/>
                  <a:gd name="T112" fmla="*/ 0 w 3843"/>
                  <a:gd name="T113" fmla="*/ 2234 h 3287"/>
                  <a:gd name="T114" fmla="*/ 0 w 3843"/>
                  <a:gd name="T115" fmla="*/ 1533 h 3287"/>
                  <a:gd name="T116" fmla="*/ 0 w 3843"/>
                  <a:gd name="T117" fmla="*/ 949 h 3287"/>
                  <a:gd name="T118" fmla="*/ 3 w 3843"/>
                  <a:gd name="T119" fmla="*/ 89 h 3287"/>
                  <a:gd name="T120" fmla="*/ 131 w 3843"/>
                  <a:gd name="T121" fmla="*/ 0 h 3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43" h="3287">
                    <a:moveTo>
                      <a:pt x="915" y="208"/>
                    </a:moveTo>
                    <a:lnTo>
                      <a:pt x="729" y="208"/>
                    </a:lnTo>
                    <a:lnTo>
                      <a:pt x="331" y="208"/>
                    </a:lnTo>
                    <a:lnTo>
                      <a:pt x="306" y="211"/>
                    </a:lnTo>
                    <a:lnTo>
                      <a:pt x="284" y="218"/>
                    </a:lnTo>
                    <a:lnTo>
                      <a:pt x="265" y="229"/>
                    </a:lnTo>
                    <a:lnTo>
                      <a:pt x="248" y="246"/>
                    </a:lnTo>
                    <a:lnTo>
                      <a:pt x="235" y="264"/>
                    </a:lnTo>
                    <a:lnTo>
                      <a:pt x="227" y="286"/>
                    </a:lnTo>
                    <a:lnTo>
                      <a:pt x="225" y="310"/>
                    </a:lnTo>
                    <a:lnTo>
                      <a:pt x="225" y="311"/>
                    </a:lnTo>
                    <a:lnTo>
                      <a:pt x="225" y="311"/>
                    </a:lnTo>
                    <a:lnTo>
                      <a:pt x="225" y="324"/>
                    </a:lnTo>
                    <a:lnTo>
                      <a:pt x="225" y="331"/>
                    </a:lnTo>
                    <a:lnTo>
                      <a:pt x="225" y="339"/>
                    </a:lnTo>
                    <a:lnTo>
                      <a:pt x="225" y="584"/>
                    </a:lnTo>
                    <a:lnTo>
                      <a:pt x="225" y="629"/>
                    </a:lnTo>
                    <a:lnTo>
                      <a:pt x="225" y="679"/>
                    </a:lnTo>
                    <a:lnTo>
                      <a:pt x="225" y="734"/>
                    </a:lnTo>
                    <a:lnTo>
                      <a:pt x="225" y="795"/>
                    </a:lnTo>
                    <a:lnTo>
                      <a:pt x="225" y="861"/>
                    </a:lnTo>
                    <a:lnTo>
                      <a:pt x="225" y="932"/>
                    </a:lnTo>
                    <a:lnTo>
                      <a:pt x="225" y="1615"/>
                    </a:lnTo>
                    <a:lnTo>
                      <a:pt x="225" y="1741"/>
                    </a:lnTo>
                    <a:lnTo>
                      <a:pt x="225" y="1875"/>
                    </a:lnTo>
                    <a:lnTo>
                      <a:pt x="225" y="2018"/>
                    </a:lnTo>
                    <a:lnTo>
                      <a:pt x="225" y="2169"/>
                    </a:lnTo>
                    <a:lnTo>
                      <a:pt x="225" y="2328"/>
                    </a:lnTo>
                    <a:lnTo>
                      <a:pt x="225" y="2495"/>
                    </a:lnTo>
                    <a:lnTo>
                      <a:pt x="227" y="2520"/>
                    </a:lnTo>
                    <a:lnTo>
                      <a:pt x="235" y="2542"/>
                    </a:lnTo>
                    <a:lnTo>
                      <a:pt x="248" y="2561"/>
                    </a:lnTo>
                    <a:lnTo>
                      <a:pt x="265" y="2576"/>
                    </a:lnTo>
                    <a:lnTo>
                      <a:pt x="284" y="2589"/>
                    </a:lnTo>
                    <a:lnTo>
                      <a:pt x="306" y="2596"/>
                    </a:lnTo>
                    <a:lnTo>
                      <a:pt x="331" y="2598"/>
                    </a:lnTo>
                    <a:lnTo>
                      <a:pt x="332" y="2598"/>
                    </a:lnTo>
                    <a:lnTo>
                      <a:pt x="332" y="2598"/>
                    </a:lnTo>
                    <a:lnTo>
                      <a:pt x="333" y="2598"/>
                    </a:lnTo>
                    <a:lnTo>
                      <a:pt x="336" y="2598"/>
                    </a:lnTo>
                    <a:lnTo>
                      <a:pt x="388" y="2598"/>
                    </a:lnTo>
                    <a:lnTo>
                      <a:pt x="403" y="2598"/>
                    </a:lnTo>
                    <a:lnTo>
                      <a:pt x="421" y="2598"/>
                    </a:lnTo>
                    <a:lnTo>
                      <a:pt x="465" y="2598"/>
                    </a:lnTo>
                    <a:lnTo>
                      <a:pt x="492" y="2598"/>
                    </a:lnTo>
                    <a:lnTo>
                      <a:pt x="522" y="2598"/>
                    </a:lnTo>
                    <a:lnTo>
                      <a:pt x="842" y="2598"/>
                    </a:lnTo>
                    <a:lnTo>
                      <a:pt x="907" y="2598"/>
                    </a:lnTo>
                    <a:lnTo>
                      <a:pt x="976" y="2598"/>
                    </a:lnTo>
                    <a:lnTo>
                      <a:pt x="1050" y="2598"/>
                    </a:lnTo>
                    <a:lnTo>
                      <a:pt x="1307" y="2598"/>
                    </a:lnTo>
                    <a:lnTo>
                      <a:pt x="1404" y="2598"/>
                    </a:lnTo>
                    <a:lnTo>
                      <a:pt x="1508" y="2598"/>
                    </a:lnTo>
                    <a:lnTo>
                      <a:pt x="1618" y="2598"/>
                    </a:lnTo>
                    <a:lnTo>
                      <a:pt x="1735" y="2598"/>
                    </a:lnTo>
                    <a:lnTo>
                      <a:pt x="1860" y="2598"/>
                    </a:lnTo>
                    <a:lnTo>
                      <a:pt x="1990" y="2598"/>
                    </a:lnTo>
                    <a:lnTo>
                      <a:pt x="2128" y="2598"/>
                    </a:lnTo>
                    <a:lnTo>
                      <a:pt x="2273" y="2598"/>
                    </a:lnTo>
                    <a:lnTo>
                      <a:pt x="2427" y="2598"/>
                    </a:lnTo>
                    <a:lnTo>
                      <a:pt x="2588" y="2598"/>
                    </a:lnTo>
                    <a:lnTo>
                      <a:pt x="2758" y="2598"/>
                    </a:lnTo>
                    <a:lnTo>
                      <a:pt x="2935" y="2598"/>
                    </a:lnTo>
                    <a:lnTo>
                      <a:pt x="3120" y="2598"/>
                    </a:lnTo>
                    <a:lnTo>
                      <a:pt x="3519" y="2598"/>
                    </a:lnTo>
                    <a:lnTo>
                      <a:pt x="3542" y="2596"/>
                    </a:lnTo>
                    <a:lnTo>
                      <a:pt x="3563" y="2589"/>
                    </a:lnTo>
                    <a:lnTo>
                      <a:pt x="3583" y="2576"/>
                    </a:lnTo>
                    <a:lnTo>
                      <a:pt x="3598" y="2561"/>
                    </a:lnTo>
                    <a:lnTo>
                      <a:pt x="3611" y="2542"/>
                    </a:lnTo>
                    <a:lnTo>
                      <a:pt x="3619" y="2520"/>
                    </a:lnTo>
                    <a:lnTo>
                      <a:pt x="3621" y="2495"/>
                    </a:lnTo>
                    <a:lnTo>
                      <a:pt x="3621" y="2495"/>
                    </a:lnTo>
                    <a:lnTo>
                      <a:pt x="3621" y="2495"/>
                    </a:lnTo>
                    <a:lnTo>
                      <a:pt x="3621" y="2483"/>
                    </a:lnTo>
                    <a:lnTo>
                      <a:pt x="3621" y="2476"/>
                    </a:lnTo>
                    <a:lnTo>
                      <a:pt x="3621" y="2466"/>
                    </a:lnTo>
                    <a:lnTo>
                      <a:pt x="3621" y="2223"/>
                    </a:lnTo>
                    <a:lnTo>
                      <a:pt x="3621" y="2177"/>
                    </a:lnTo>
                    <a:lnTo>
                      <a:pt x="3621" y="2127"/>
                    </a:lnTo>
                    <a:lnTo>
                      <a:pt x="3621" y="2071"/>
                    </a:lnTo>
                    <a:lnTo>
                      <a:pt x="3621" y="2012"/>
                    </a:lnTo>
                    <a:lnTo>
                      <a:pt x="3621" y="1945"/>
                    </a:lnTo>
                    <a:lnTo>
                      <a:pt x="3621" y="1873"/>
                    </a:lnTo>
                    <a:lnTo>
                      <a:pt x="3621" y="1191"/>
                    </a:lnTo>
                    <a:lnTo>
                      <a:pt x="3621" y="1064"/>
                    </a:lnTo>
                    <a:lnTo>
                      <a:pt x="3621" y="930"/>
                    </a:lnTo>
                    <a:lnTo>
                      <a:pt x="3621" y="788"/>
                    </a:lnTo>
                    <a:lnTo>
                      <a:pt x="3621" y="637"/>
                    </a:lnTo>
                    <a:lnTo>
                      <a:pt x="3621" y="479"/>
                    </a:lnTo>
                    <a:lnTo>
                      <a:pt x="3621" y="310"/>
                    </a:lnTo>
                    <a:lnTo>
                      <a:pt x="3619" y="286"/>
                    </a:lnTo>
                    <a:lnTo>
                      <a:pt x="3611" y="264"/>
                    </a:lnTo>
                    <a:lnTo>
                      <a:pt x="3598" y="246"/>
                    </a:lnTo>
                    <a:lnTo>
                      <a:pt x="3583" y="229"/>
                    </a:lnTo>
                    <a:lnTo>
                      <a:pt x="3563" y="218"/>
                    </a:lnTo>
                    <a:lnTo>
                      <a:pt x="3542" y="211"/>
                    </a:lnTo>
                    <a:lnTo>
                      <a:pt x="3519" y="208"/>
                    </a:lnTo>
                    <a:lnTo>
                      <a:pt x="3519" y="208"/>
                    </a:lnTo>
                    <a:lnTo>
                      <a:pt x="3518" y="208"/>
                    </a:lnTo>
                    <a:lnTo>
                      <a:pt x="3517" y="208"/>
                    </a:lnTo>
                    <a:lnTo>
                      <a:pt x="3007" y="208"/>
                    </a:lnTo>
                    <a:lnTo>
                      <a:pt x="2943" y="208"/>
                    </a:lnTo>
                    <a:lnTo>
                      <a:pt x="2875" y="208"/>
                    </a:lnTo>
                    <a:lnTo>
                      <a:pt x="2800" y="208"/>
                    </a:lnTo>
                    <a:lnTo>
                      <a:pt x="2544" y="208"/>
                    </a:lnTo>
                    <a:lnTo>
                      <a:pt x="2446" y="208"/>
                    </a:lnTo>
                    <a:lnTo>
                      <a:pt x="1722" y="208"/>
                    </a:lnTo>
                    <a:lnTo>
                      <a:pt x="1577" y="208"/>
                    </a:lnTo>
                    <a:lnTo>
                      <a:pt x="1423" y="208"/>
                    </a:lnTo>
                    <a:lnTo>
                      <a:pt x="1262" y="208"/>
                    </a:lnTo>
                    <a:lnTo>
                      <a:pt x="1093" y="208"/>
                    </a:lnTo>
                    <a:lnTo>
                      <a:pt x="915" y="208"/>
                    </a:lnTo>
                    <a:close/>
                    <a:moveTo>
                      <a:pt x="131" y="0"/>
                    </a:moveTo>
                    <a:lnTo>
                      <a:pt x="197" y="0"/>
                    </a:lnTo>
                    <a:lnTo>
                      <a:pt x="214" y="0"/>
                    </a:lnTo>
                    <a:lnTo>
                      <a:pt x="233" y="0"/>
                    </a:lnTo>
                    <a:lnTo>
                      <a:pt x="374" y="0"/>
                    </a:lnTo>
                    <a:lnTo>
                      <a:pt x="412" y="0"/>
                    </a:lnTo>
                    <a:lnTo>
                      <a:pt x="456" y="0"/>
                    </a:lnTo>
                    <a:lnTo>
                      <a:pt x="800" y="0"/>
                    </a:lnTo>
                    <a:lnTo>
                      <a:pt x="874" y="0"/>
                    </a:lnTo>
                    <a:lnTo>
                      <a:pt x="954" y="0"/>
                    </a:lnTo>
                    <a:lnTo>
                      <a:pt x="1727" y="0"/>
                    </a:lnTo>
                    <a:lnTo>
                      <a:pt x="1805" y="0"/>
                    </a:lnTo>
                    <a:lnTo>
                      <a:pt x="1886" y="0"/>
                    </a:lnTo>
                    <a:lnTo>
                      <a:pt x="1997" y="0"/>
                    </a:lnTo>
                    <a:lnTo>
                      <a:pt x="2083" y="0"/>
                    </a:lnTo>
                    <a:lnTo>
                      <a:pt x="2234" y="0"/>
                    </a:lnTo>
                    <a:lnTo>
                      <a:pt x="3720" y="0"/>
                    </a:lnTo>
                    <a:lnTo>
                      <a:pt x="3748" y="2"/>
                    </a:lnTo>
                    <a:lnTo>
                      <a:pt x="3774" y="11"/>
                    </a:lnTo>
                    <a:lnTo>
                      <a:pt x="3796" y="24"/>
                    </a:lnTo>
                    <a:lnTo>
                      <a:pt x="3815" y="43"/>
                    </a:lnTo>
                    <a:lnTo>
                      <a:pt x="3830" y="65"/>
                    </a:lnTo>
                    <a:lnTo>
                      <a:pt x="3839" y="89"/>
                    </a:lnTo>
                    <a:lnTo>
                      <a:pt x="3843" y="117"/>
                    </a:lnTo>
                    <a:lnTo>
                      <a:pt x="3843" y="117"/>
                    </a:lnTo>
                    <a:lnTo>
                      <a:pt x="3843" y="117"/>
                    </a:lnTo>
                    <a:lnTo>
                      <a:pt x="3843" y="119"/>
                    </a:lnTo>
                    <a:lnTo>
                      <a:pt x="3843" y="120"/>
                    </a:lnTo>
                    <a:lnTo>
                      <a:pt x="3843" y="122"/>
                    </a:lnTo>
                    <a:lnTo>
                      <a:pt x="3843" y="124"/>
                    </a:lnTo>
                    <a:lnTo>
                      <a:pt x="3843" y="127"/>
                    </a:lnTo>
                    <a:lnTo>
                      <a:pt x="3843" y="130"/>
                    </a:lnTo>
                    <a:lnTo>
                      <a:pt x="3843" y="136"/>
                    </a:lnTo>
                    <a:lnTo>
                      <a:pt x="3843" y="144"/>
                    </a:lnTo>
                    <a:lnTo>
                      <a:pt x="3843" y="150"/>
                    </a:lnTo>
                    <a:lnTo>
                      <a:pt x="3843" y="243"/>
                    </a:lnTo>
                    <a:lnTo>
                      <a:pt x="3843" y="270"/>
                    </a:lnTo>
                    <a:lnTo>
                      <a:pt x="3843" y="300"/>
                    </a:lnTo>
                    <a:lnTo>
                      <a:pt x="3843" y="335"/>
                    </a:lnTo>
                    <a:lnTo>
                      <a:pt x="3843" y="373"/>
                    </a:lnTo>
                    <a:lnTo>
                      <a:pt x="3843" y="416"/>
                    </a:lnTo>
                    <a:lnTo>
                      <a:pt x="3843" y="571"/>
                    </a:lnTo>
                    <a:lnTo>
                      <a:pt x="3843" y="633"/>
                    </a:lnTo>
                    <a:lnTo>
                      <a:pt x="3843" y="700"/>
                    </a:lnTo>
                    <a:lnTo>
                      <a:pt x="3843" y="774"/>
                    </a:lnTo>
                    <a:lnTo>
                      <a:pt x="3843" y="852"/>
                    </a:lnTo>
                    <a:lnTo>
                      <a:pt x="3843" y="937"/>
                    </a:lnTo>
                    <a:lnTo>
                      <a:pt x="3843" y="1274"/>
                    </a:lnTo>
                    <a:lnTo>
                      <a:pt x="3843" y="1340"/>
                    </a:lnTo>
                    <a:lnTo>
                      <a:pt x="3843" y="1458"/>
                    </a:lnTo>
                    <a:lnTo>
                      <a:pt x="3843" y="1584"/>
                    </a:lnTo>
                    <a:lnTo>
                      <a:pt x="3843" y="1664"/>
                    </a:lnTo>
                    <a:lnTo>
                      <a:pt x="3843" y="1774"/>
                    </a:lnTo>
                    <a:lnTo>
                      <a:pt x="3843" y="1858"/>
                    </a:lnTo>
                    <a:lnTo>
                      <a:pt x="3843" y="2007"/>
                    </a:lnTo>
                    <a:lnTo>
                      <a:pt x="3843" y="2164"/>
                    </a:lnTo>
                    <a:lnTo>
                      <a:pt x="3843" y="2331"/>
                    </a:lnTo>
                    <a:lnTo>
                      <a:pt x="3843" y="2505"/>
                    </a:lnTo>
                    <a:lnTo>
                      <a:pt x="3843" y="2689"/>
                    </a:lnTo>
                    <a:lnTo>
                      <a:pt x="3839" y="2717"/>
                    </a:lnTo>
                    <a:lnTo>
                      <a:pt x="3830" y="2743"/>
                    </a:lnTo>
                    <a:lnTo>
                      <a:pt x="3815" y="2765"/>
                    </a:lnTo>
                    <a:lnTo>
                      <a:pt x="3796" y="2783"/>
                    </a:lnTo>
                    <a:lnTo>
                      <a:pt x="3774" y="2799"/>
                    </a:lnTo>
                    <a:lnTo>
                      <a:pt x="3748" y="2808"/>
                    </a:lnTo>
                    <a:lnTo>
                      <a:pt x="3720" y="2811"/>
                    </a:lnTo>
                    <a:lnTo>
                      <a:pt x="3720" y="2811"/>
                    </a:lnTo>
                    <a:lnTo>
                      <a:pt x="3719" y="2811"/>
                    </a:lnTo>
                    <a:lnTo>
                      <a:pt x="3718" y="2811"/>
                    </a:lnTo>
                    <a:lnTo>
                      <a:pt x="3717" y="2811"/>
                    </a:lnTo>
                    <a:lnTo>
                      <a:pt x="3713" y="2811"/>
                    </a:lnTo>
                    <a:lnTo>
                      <a:pt x="3708" y="2811"/>
                    </a:lnTo>
                    <a:lnTo>
                      <a:pt x="3701" y="2811"/>
                    </a:lnTo>
                    <a:lnTo>
                      <a:pt x="3679" y="2811"/>
                    </a:lnTo>
                    <a:lnTo>
                      <a:pt x="3663" y="2811"/>
                    </a:lnTo>
                    <a:lnTo>
                      <a:pt x="3645" y="2811"/>
                    </a:lnTo>
                    <a:lnTo>
                      <a:pt x="3566" y="2811"/>
                    </a:lnTo>
                    <a:lnTo>
                      <a:pt x="3529" y="2811"/>
                    </a:lnTo>
                    <a:lnTo>
                      <a:pt x="3489" y="2811"/>
                    </a:lnTo>
                    <a:lnTo>
                      <a:pt x="3442" y="2811"/>
                    </a:lnTo>
                    <a:lnTo>
                      <a:pt x="3391" y="2811"/>
                    </a:lnTo>
                    <a:lnTo>
                      <a:pt x="3332" y="2811"/>
                    </a:lnTo>
                    <a:lnTo>
                      <a:pt x="3268" y="2811"/>
                    </a:lnTo>
                    <a:lnTo>
                      <a:pt x="3196" y="2811"/>
                    </a:lnTo>
                    <a:lnTo>
                      <a:pt x="3118" y="2811"/>
                    </a:lnTo>
                    <a:lnTo>
                      <a:pt x="3032" y="2811"/>
                    </a:lnTo>
                    <a:lnTo>
                      <a:pt x="2939" y="2811"/>
                    </a:lnTo>
                    <a:lnTo>
                      <a:pt x="2837" y="2811"/>
                    </a:lnTo>
                    <a:lnTo>
                      <a:pt x="2727" y="2811"/>
                    </a:lnTo>
                    <a:lnTo>
                      <a:pt x="2608" y="2811"/>
                    </a:lnTo>
                    <a:lnTo>
                      <a:pt x="2608" y="2815"/>
                    </a:lnTo>
                    <a:lnTo>
                      <a:pt x="2609" y="2827"/>
                    </a:lnTo>
                    <a:lnTo>
                      <a:pt x="2610" y="2843"/>
                    </a:lnTo>
                    <a:lnTo>
                      <a:pt x="2612" y="2865"/>
                    </a:lnTo>
                    <a:lnTo>
                      <a:pt x="2615" y="2888"/>
                    </a:lnTo>
                    <a:lnTo>
                      <a:pt x="2618" y="2914"/>
                    </a:lnTo>
                    <a:lnTo>
                      <a:pt x="2622" y="2938"/>
                    </a:lnTo>
                    <a:lnTo>
                      <a:pt x="2626" y="2962"/>
                    </a:lnTo>
                    <a:lnTo>
                      <a:pt x="2632" y="2982"/>
                    </a:lnTo>
                    <a:lnTo>
                      <a:pt x="2639" y="2996"/>
                    </a:lnTo>
                    <a:lnTo>
                      <a:pt x="2655" y="3017"/>
                    </a:lnTo>
                    <a:lnTo>
                      <a:pt x="2674" y="3032"/>
                    </a:lnTo>
                    <a:lnTo>
                      <a:pt x="2694" y="3043"/>
                    </a:lnTo>
                    <a:lnTo>
                      <a:pt x="2716" y="3052"/>
                    </a:lnTo>
                    <a:lnTo>
                      <a:pt x="2738" y="3059"/>
                    </a:lnTo>
                    <a:lnTo>
                      <a:pt x="2760" y="3062"/>
                    </a:lnTo>
                    <a:lnTo>
                      <a:pt x="2781" y="3064"/>
                    </a:lnTo>
                    <a:lnTo>
                      <a:pt x="2800" y="3066"/>
                    </a:lnTo>
                    <a:lnTo>
                      <a:pt x="2816" y="3066"/>
                    </a:lnTo>
                    <a:lnTo>
                      <a:pt x="2829" y="3067"/>
                    </a:lnTo>
                    <a:lnTo>
                      <a:pt x="2829" y="3067"/>
                    </a:lnTo>
                    <a:lnTo>
                      <a:pt x="2829" y="3067"/>
                    </a:lnTo>
                    <a:lnTo>
                      <a:pt x="2830" y="3067"/>
                    </a:lnTo>
                    <a:lnTo>
                      <a:pt x="2833" y="3067"/>
                    </a:lnTo>
                    <a:lnTo>
                      <a:pt x="2836" y="3067"/>
                    </a:lnTo>
                    <a:lnTo>
                      <a:pt x="2857" y="3070"/>
                    </a:lnTo>
                    <a:lnTo>
                      <a:pt x="2877" y="3078"/>
                    </a:lnTo>
                    <a:lnTo>
                      <a:pt x="2894" y="3092"/>
                    </a:lnTo>
                    <a:lnTo>
                      <a:pt x="2907" y="3110"/>
                    </a:lnTo>
                    <a:lnTo>
                      <a:pt x="2916" y="3131"/>
                    </a:lnTo>
                    <a:lnTo>
                      <a:pt x="2919" y="3153"/>
                    </a:lnTo>
                    <a:lnTo>
                      <a:pt x="2919" y="3154"/>
                    </a:lnTo>
                    <a:lnTo>
                      <a:pt x="2919" y="3155"/>
                    </a:lnTo>
                    <a:lnTo>
                      <a:pt x="2919" y="3167"/>
                    </a:lnTo>
                    <a:lnTo>
                      <a:pt x="2919" y="3181"/>
                    </a:lnTo>
                    <a:lnTo>
                      <a:pt x="2919" y="3201"/>
                    </a:lnTo>
                    <a:lnTo>
                      <a:pt x="2916" y="3224"/>
                    </a:lnTo>
                    <a:lnTo>
                      <a:pt x="2907" y="3244"/>
                    </a:lnTo>
                    <a:lnTo>
                      <a:pt x="2894" y="3261"/>
                    </a:lnTo>
                    <a:lnTo>
                      <a:pt x="2877" y="3275"/>
                    </a:lnTo>
                    <a:lnTo>
                      <a:pt x="2857" y="3285"/>
                    </a:lnTo>
                    <a:lnTo>
                      <a:pt x="2836" y="3287"/>
                    </a:lnTo>
                    <a:lnTo>
                      <a:pt x="2836" y="3287"/>
                    </a:lnTo>
                    <a:lnTo>
                      <a:pt x="2836" y="3287"/>
                    </a:lnTo>
                    <a:lnTo>
                      <a:pt x="2813" y="3287"/>
                    </a:lnTo>
                    <a:lnTo>
                      <a:pt x="2803" y="3287"/>
                    </a:lnTo>
                    <a:lnTo>
                      <a:pt x="2791" y="3287"/>
                    </a:lnTo>
                    <a:lnTo>
                      <a:pt x="2285" y="3287"/>
                    </a:lnTo>
                    <a:lnTo>
                      <a:pt x="2209" y="3287"/>
                    </a:lnTo>
                    <a:lnTo>
                      <a:pt x="2128" y="3287"/>
                    </a:lnTo>
                    <a:lnTo>
                      <a:pt x="2039" y="3287"/>
                    </a:lnTo>
                    <a:lnTo>
                      <a:pt x="1292" y="3287"/>
                    </a:lnTo>
                    <a:lnTo>
                      <a:pt x="1206" y="3287"/>
                    </a:lnTo>
                    <a:lnTo>
                      <a:pt x="1053" y="3287"/>
                    </a:lnTo>
                    <a:lnTo>
                      <a:pt x="1031" y="3285"/>
                    </a:lnTo>
                    <a:lnTo>
                      <a:pt x="1010" y="3275"/>
                    </a:lnTo>
                    <a:lnTo>
                      <a:pt x="994" y="3261"/>
                    </a:lnTo>
                    <a:lnTo>
                      <a:pt x="981" y="3244"/>
                    </a:lnTo>
                    <a:lnTo>
                      <a:pt x="973" y="3224"/>
                    </a:lnTo>
                    <a:lnTo>
                      <a:pt x="971" y="3201"/>
                    </a:lnTo>
                    <a:lnTo>
                      <a:pt x="971" y="3201"/>
                    </a:lnTo>
                    <a:lnTo>
                      <a:pt x="971" y="3198"/>
                    </a:lnTo>
                    <a:lnTo>
                      <a:pt x="971" y="3187"/>
                    </a:lnTo>
                    <a:lnTo>
                      <a:pt x="971" y="3173"/>
                    </a:lnTo>
                    <a:lnTo>
                      <a:pt x="971" y="3153"/>
                    </a:lnTo>
                    <a:lnTo>
                      <a:pt x="973" y="3131"/>
                    </a:lnTo>
                    <a:lnTo>
                      <a:pt x="981" y="3110"/>
                    </a:lnTo>
                    <a:lnTo>
                      <a:pt x="994" y="3092"/>
                    </a:lnTo>
                    <a:lnTo>
                      <a:pt x="1010" y="3078"/>
                    </a:lnTo>
                    <a:lnTo>
                      <a:pt x="1031" y="3070"/>
                    </a:lnTo>
                    <a:lnTo>
                      <a:pt x="1053" y="3067"/>
                    </a:lnTo>
                    <a:lnTo>
                      <a:pt x="1073" y="3067"/>
                    </a:lnTo>
                    <a:lnTo>
                      <a:pt x="1093" y="3062"/>
                    </a:lnTo>
                    <a:lnTo>
                      <a:pt x="1114" y="3059"/>
                    </a:lnTo>
                    <a:lnTo>
                      <a:pt x="1135" y="3056"/>
                    </a:lnTo>
                    <a:lnTo>
                      <a:pt x="1157" y="3054"/>
                    </a:lnTo>
                    <a:lnTo>
                      <a:pt x="1179" y="3050"/>
                    </a:lnTo>
                    <a:lnTo>
                      <a:pt x="1201" y="3046"/>
                    </a:lnTo>
                    <a:lnTo>
                      <a:pt x="1222" y="3039"/>
                    </a:lnTo>
                    <a:lnTo>
                      <a:pt x="1241" y="3028"/>
                    </a:lnTo>
                    <a:lnTo>
                      <a:pt x="1258" y="3014"/>
                    </a:lnTo>
                    <a:lnTo>
                      <a:pt x="1274" y="2996"/>
                    </a:lnTo>
                    <a:lnTo>
                      <a:pt x="1282" y="2982"/>
                    </a:lnTo>
                    <a:lnTo>
                      <a:pt x="1289" y="2962"/>
                    </a:lnTo>
                    <a:lnTo>
                      <a:pt x="1293" y="2938"/>
                    </a:lnTo>
                    <a:lnTo>
                      <a:pt x="1298" y="2914"/>
                    </a:lnTo>
                    <a:lnTo>
                      <a:pt x="1303" y="2888"/>
                    </a:lnTo>
                    <a:lnTo>
                      <a:pt x="1305" y="2865"/>
                    </a:lnTo>
                    <a:lnTo>
                      <a:pt x="1307" y="2843"/>
                    </a:lnTo>
                    <a:lnTo>
                      <a:pt x="1309" y="2827"/>
                    </a:lnTo>
                    <a:lnTo>
                      <a:pt x="1310" y="2815"/>
                    </a:lnTo>
                    <a:lnTo>
                      <a:pt x="1310" y="2811"/>
                    </a:lnTo>
                    <a:lnTo>
                      <a:pt x="1310" y="2811"/>
                    </a:lnTo>
                    <a:lnTo>
                      <a:pt x="1310" y="2811"/>
                    </a:lnTo>
                    <a:lnTo>
                      <a:pt x="1303" y="2811"/>
                    </a:lnTo>
                    <a:lnTo>
                      <a:pt x="1298" y="2811"/>
                    </a:lnTo>
                    <a:lnTo>
                      <a:pt x="1291" y="2811"/>
                    </a:lnTo>
                    <a:lnTo>
                      <a:pt x="1282" y="2811"/>
                    </a:lnTo>
                    <a:lnTo>
                      <a:pt x="1270" y="2811"/>
                    </a:lnTo>
                    <a:lnTo>
                      <a:pt x="1239" y="2811"/>
                    </a:lnTo>
                    <a:lnTo>
                      <a:pt x="1216" y="2811"/>
                    </a:lnTo>
                    <a:lnTo>
                      <a:pt x="1192" y="2811"/>
                    </a:lnTo>
                    <a:lnTo>
                      <a:pt x="1162" y="2811"/>
                    </a:lnTo>
                    <a:lnTo>
                      <a:pt x="1128" y="2811"/>
                    </a:lnTo>
                    <a:lnTo>
                      <a:pt x="1089" y="2811"/>
                    </a:lnTo>
                    <a:lnTo>
                      <a:pt x="996" y="2811"/>
                    </a:lnTo>
                    <a:lnTo>
                      <a:pt x="941" y="2811"/>
                    </a:lnTo>
                    <a:lnTo>
                      <a:pt x="880" y="2811"/>
                    </a:lnTo>
                    <a:lnTo>
                      <a:pt x="812" y="2811"/>
                    </a:lnTo>
                    <a:lnTo>
                      <a:pt x="738" y="2811"/>
                    </a:lnTo>
                    <a:lnTo>
                      <a:pt x="656" y="2811"/>
                    </a:lnTo>
                    <a:lnTo>
                      <a:pt x="366" y="2811"/>
                    </a:lnTo>
                    <a:lnTo>
                      <a:pt x="252" y="2811"/>
                    </a:lnTo>
                    <a:lnTo>
                      <a:pt x="131" y="2811"/>
                    </a:lnTo>
                    <a:lnTo>
                      <a:pt x="100" y="2808"/>
                    </a:lnTo>
                    <a:lnTo>
                      <a:pt x="73" y="2799"/>
                    </a:lnTo>
                    <a:lnTo>
                      <a:pt x="49" y="2783"/>
                    </a:lnTo>
                    <a:lnTo>
                      <a:pt x="29" y="2765"/>
                    </a:lnTo>
                    <a:lnTo>
                      <a:pt x="13" y="2743"/>
                    </a:lnTo>
                    <a:lnTo>
                      <a:pt x="3" y="2717"/>
                    </a:lnTo>
                    <a:lnTo>
                      <a:pt x="0" y="2689"/>
                    </a:lnTo>
                    <a:lnTo>
                      <a:pt x="0" y="2689"/>
                    </a:lnTo>
                    <a:lnTo>
                      <a:pt x="0" y="2689"/>
                    </a:lnTo>
                    <a:lnTo>
                      <a:pt x="0" y="2688"/>
                    </a:lnTo>
                    <a:lnTo>
                      <a:pt x="0" y="2687"/>
                    </a:lnTo>
                    <a:lnTo>
                      <a:pt x="0" y="2684"/>
                    </a:lnTo>
                    <a:lnTo>
                      <a:pt x="0" y="2682"/>
                    </a:lnTo>
                    <a:lnTo>
                      <a:pt x="0" y="2678"/>
                    </a:lnTo>
                    <a:lnTo>
                      <a:pt x="0" y="2676"/>
                    </a:lnTo>
                    <a:lnTo>
                      <a:pt x="0" y="2670"/>
                    </a:lnTo>
                    <a:lnTo>
                      <a:pt x="0" y="2662"/>
                    </a:lnTo>
                    <a:lnTo>
                      <a:pt x="0" y="2655"/>
                    </a:lnTo>
                    <a:lnTo>
                      <a:pt x="0" y="2563"/>
                    </a:lnTo>
                    <a:lnTo>
                      <a:pt x="0" y="2536"/>
                    </a:lnTo>
                    <a:lnTo>
                      <a:pt x="0" y="2506"/>
                    </a:lnTo>
                    <a:lnTo>
                      <a:pt x="0" y="2471"/>
                    </a:lnTo>
                    <a:lnTo>
                      <a:pt x="0" y="2433"/>
                    </a:lnTo>
                    <a:lnTo>
                      <a:pt x="0" y="2391"/>
                    </a:lnTo>
                    <a:lnTo>
                      <a:pt x="0" y="2234"/>
                    </a:lnTo>
                    <a:lnTo>
                      <a:pt x="0" y="2173"/>
                    </a:lnTo>
                    <a:lnTo>
                      <a:pt x="0" y="2106"/>
                    </a:lnTo>
                    <a:lnTo>
                      <a:pt x="0" y="2033"/>
                    </a:lnTo>
                    <a:lnTo>
                      <a:pt x="0" y="1955"/>
                    </a:lnTo>
                    <a:lnTo>
                      <a:pt x="0" y="1869"/>
                    </a:lnTo>
                    <a:lnTo>
                      <a:pt x="0" y="1533"/>
                    </a:lnTo>
                    <a:lnTo>
                      <a:pt x="0" y="1466"/>
                    </a:lnTo>
                    <a:lnTo>
                      <a:pt x="0" y="1348"/>
                    </a:lnTo>
                    <a:lnTo>
                      <a:pt x="0" y="1223"/>
                    </a:lnTo>
                    <a:lnTo>
                      <a:pt x="0" y="1142"/>
                    </a:lnTo>
                    <a:lnTo>
                      <a:pt x="0" y="1032"/>
                    </a:lnTo>
                    <a:lnTo>
                      <a:pt x="0" y="949"/>
                    </a:lnTo>
                    <a:lnTo>
                      <a:pt x="0" y="799"/>
                    </a:lnTo>
                    <a:lnTo>
                      <a:pt x="0" y="642"/>
                    </a:lnTo>
                    <a:lnTo>
                      <a:pt x="0" y="475"/>
                    </a:lnTo>
                    <a:lnTo>
                      <a:pt x="0" y="300"/>
                    </a:lnTo>
                    <a:lnTo>
                      <a:pt x="0" y="117"/>
                    </a:lnTo>
                    <a:lnTo>
                      <a:pt x="3" y="89"/>
                    </a:lnTo>
                    <a:lnTo>
                      <a:pt x="13" y="65"/>
                    </a:lnTo>
                    <a:lnTo>
                      <a:pt x="29" y="43"/>
                    </a:lnTo>
                    <a:lnTo>
                      <a:pt x="49" y="24"/>
                    </a:lnTo>
                    <a:lnTo>
                      <a:pt x="73" y="11"/>
                    </a:lnTo>
                    <a:lnTo>
                      <a:pt x="100" y="2"/>
                    </a:lnTo>
                    <a:lnTo>
                      <a:pt x="131" y="0"/>
                    </a:lnTo>
                    <a:close/>
                  </a:path>
                </a:pathLst>
              </a:custGeom>
              <a:solidFill>
                <a:srgbClr val="3D58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85" name="Freeform 7"/>
              <p:cNvSpPr>
                <a:spLocks noEditPoints="1"/>
              </p:cNvSpPr>
              <p:nvPr/>
            </p:nvSpPr>
            <p:spPr bwMode="auto">
              <a:xfrm>
                <a:off x="1388" y="2922"/>
                <a:ext cx="288" cy="403"/>
              </a:xfrm>
              <a:custGeom>
                <a:avLst/>
                <a:gdLst>
                  <a:gd name="T0" fmla="*/ 949 w 1154"/>
                  <a:gd name="T1" fmla="*/ 378 h 1612"/>
                  <a:gd name="T2" fmla="*/ 1023 w 1154"/>
                  <a:gd name="T3" fmla="*/ 414 h 1612"/>
                  <a:gd name="T4" fmla="*/ 1080 w 1154"/>
                  <a:gd name="T5" fmla="*/ 463 h 1612"/>
                  <a:gd name="T6" fmla="*/ 1113 w 1154"/>
                  <a:gd name="T7" fmla="*/ 503 h 1612"/>
                  <a:gd name="T8" fmla="*/ 1095 w 1154"/>
                  <a:gd name="T9" fmla="*/ 527 h 1612"/>
                  <a:gd name="T10" fmla="*/ 1035 w 1154"/>
                  <a:gd name="T11" fmla="*/ 586 h 1612"/>
                  <a:gd name="T12" fmla="*/ 956 w 1154"/>
                  <a:gd name="T13" fmla="*/ 696 h 1612"/>
                  <a:gd name="T14" fmla="*/ 923 w 1154"/>
                  <a:gd name="T15" fmla="*/ 803 h 1612"/>
                  <a:gd name="T16" fmla="*/ 920 w 1154"/>
                  <a:gd name="T17" fmla="*/ 919 h 1612"/>
                  <a:gd name="T18" fmla="*/ 953 w 1154"/>
                  <a:gd name="T19" fmla="*/ 1025 h 1612"/>
                  <a:gd name="T20" fmla="*/ 1012 w 1154"/>
                  <a:gd name="T21" fmla="*/ 1103 h 1612"/>
                  <a:gd name="T22" fmla="*/ 1071 w 1154"/>
                  <a:gd name="T23" fmla="*/ 1158 h 1612"/>
                  <a:gd name="T24" fmla="*/ 1125 w 1154"/>
                  <a:gd name="T25" fmla="*/ 1194 h 1612"/>
                  <a:gd name="T26" fmla="*/ 1154 w 1154"/>
                  <a:gd name="T27" fmla="*/ 1209 h 1612"/>
                  <a:gd name="T28" fmla="*/ 1139 w 1154"/>
                  <a:gd name="T29" fmla="*/ 1247 h 1612"/>
                  <a:gd name="T30" fmla="*/ 1106 w 1154"/>
                  <a:gd name="T31" fmla="*/ 1323 h 1612"/>
                  <a:gd name="T32" fmla="*/ 1051 w 1154"/>
                  <a:gd name="T33" fmla="*/ 1427 h 1612"/>
                  <a:gd name="T34" fmla="*/ 954 w 1154"/>
                  <a:gd name="T35" fmla="*/ 1560 h 1612"/>
                  <a:gd name="T36" fmla="*/ 897 w 1154"/>
                  <a:gd name="T37" fmla="*/ 1604 h 1612"/>
                  <a:gd name="T38" fmla="*/ 837 w 1154"/>
                  <a:gd name="T39" fmla="*/ 1610 h 1612"/>
                  <a:gd name="T40" fmla="*/ 784 w 1154"/>
                  <a:gd name="T41" fmla="*/ 1599 h 1612"/>
                  <a:gd name="T42" fmla="*/ 728 w 1154"/>
                  <a:gd name="T43" fmla="*/ 1574 h 1612"/>
                  <a:gd name="T44" fmla="*/ 693 w 1154"/>
                  <a:gd name="T45" fmla="*/ 1552 h 1612"/>
                  <a:gd name="T46" fmla="*/ 634 w 1154"/>
                  <a:gd name="T47" fmla="*/ 1534 h 1612"/>
                  <a:gd name="T48" fmla="*/ 550 w 1154"/>
                  <a:gd name="T49" fmla="*/ 1538 h 1612"/>
                  <a:gd name="T50" fmla="*/ 469 w 1154"/>
                  <a:gd name="T51" fmla="*/ 1566 h 1612"/>
                  <a:gd name="T52" fmla="*/ 419 w 1154"/>
                  <a:gd name="T53" fmla="*/ 1592 h 1612"/>
                  <a:gd name="T54" fmla="*/ 367 w 1154"/>
                  <a:gd name="T55" fmla="*/ 1603 h 1612"/>
                  <a:gd name="T56" fmla="*/ 296 w 1154"/>
                  <a:gd name="T57" fmla="*/ 1580 h 1612"/>
                  <a:gd name="T58" fmla="*/ 232 w 1154"/>
                  <a:gd name="T59" fmla="*/ 1528 h 1612"/>
                  <a:gd name="T60" fmla="*/ 159 w 1154"/>
                  <a:gd name="T61" fmla="*/ 1435 h 1612"/>
                  <a:gd name="T62" fmla="*/ 92 w 1154"/>
                  <a:gd name="T63" fmla="*/ 1315 h 1612"/>
                  <a:gd name="T64" fmla="*/ 39 w 1154"/>
                  <a:gd name="T65" fmla="*/ 1168 h 1612"/>
                  <a:gd name="T66" fmla="*/ 1 w 1154"/>
                  <a:gd name="T67" fmla="*/ 934 h 1612"/>
                  <a:gd name="T68" fmla="*/ 20 w 1154"/>
                  <a:gd name="T69" fmla="*/ 708 h 1612"/>
                  <a:gd name="T70" fmla="*/ 70 w 1154"/>
                  <a:gd name="T71" fmla="*/ 581 h 1612"/>
                  <a:gd name="T72" fmla="*/ 125 w 1154"/>
                  <a:gd name="T73" fmla="*/ 505 h 1612"/>
                  <a:gd name="T74" fmla="*/ 206 w 1154"/>
                  <a:gd name="T75" fmla="*/ 431 h 1612"/>
                  <a:gd name="T76" fmla="*/ 286 w 1154"/>
                  <a:gd name="T77" fmla="*/ 392 h 1612"/>
                  <a:gd name="T78" fmla="*/ 378 w 1154"/>
                  <a:gd name="T79" fmla="*/ 386 h 1612"/>
                  <a:gd name="T80" fmla="*/ 480 w 1154"/>
                  <a:gd name="T81" fmla="*/ 419 h 1612"/>
                  <a:gd name="T82" fmla="*/ 569 w 1154"/>
                  <a:gd name="T83" fmla="*/ 448 h 1612"/>
                  <a:gd name="T84" fmla="*/ 640 w 1154"/>
                  <a:gd name="T85" fmla="*/ 443 h 1612"/>
                  <a:gd name="T86" fmla="*/ 693 w 1154"/>
                  <a:gd name="T87" fmla="*/ 420 h 1612"/>
                  <a:gd name="T88" fmla="*/ 783 w 1154"/>
                  <a:gd name="T89" fmla="*/ 386 h 1612"/>
                  <a:gd name="T90" fmla="*/ 887 w 1154"/>
                  <a:gd name="T91" fmla="*/ 368 h 1612"/>
                  <a:gd name="T92" fmla="*/ 882 w 1154"/>
                  <a:gd name="T93" fmla="*/ 36 h 1612"/>
                  <a:gd name="T94" fmla="*/ 867 w 1154"/>
                  <a:gd name="T95" fmla="*/ 121 h 1612"/>
                  <a:gd name="T96" fmla="*/ 847 w 1154"/>
                  <a:gd name="T97" fmla="*/ 175 h 1612"/>
                  <a:gd name="T98" fmla="*/ 805 w 1154"/>
                  <a:gd name="T99" fmla="*/ 232 h 1612"/>
                  <a:gd name="T100" fmla="*/ 742 w 1154"/>
                  <a:gd name="T101" fmla="*/ 286 h 1612"/>
                  <a:gd name="T102" fmla="*/ 673 w 1154"/>
                  <a:gd name="T103" fmla="*/ 324 h 1612"/>
                  <a:gd name="T104" fmla="*/ 571 w 1154"/>
                  <a:gd name="T105" fmla="*/ 347 h 1612"/>
                  <a:gd name="T106" fmla="*/ 565 w 1154"/>
                  <a:gd name="T107" fmla="*/ 349 h 1612"/>
                  <a:gd name="T108" fmla="*/ 558 w 1154"/>
                  <a:gd name="T109" fmla="*/ 333 h 1612"/>
                  <a:gd name="T110" fmla="*/ 554 w 1154"/>
                  <a:gd name="T111" fmla="*/ 287 h 1612"/>
                  <a:gd name="T112" fmla="*/ 580 w 1154"/>
                  <a:gd name="T113" fmla="*/ 225 h 1612"/>
                  <a:gd name="T114" fmla="*/ 625 w 1154"/>
                  <a:gd name="T115" fmla="*/ 159 h 1612"/>
                  <a:gd name="T116" fmla="*/ 668 w 1154"/>
                  <a:gd name="T117" fmla="*/ 107 h 1612"/>
                  <a:gd name="T118" fmla="*/ 760 w 1154"/>
                  <a:gd name="T119" fmla="*/ 40 h 1612"/>
                  <a:gd name="T120" fmla="*/ 821 w 1154"/>
                  <a:gd name="T121" fmla="*/ 18 h 1612"/>
                  <a:gd name="T122" fmla="*/ 882 w 1154"/>
                  <a:gd name="T123" fmla="*/ 0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4" h="1612">
                    <a:moveTo>
                      <a:pt x="887" y="368"/>
                    </a:moveTo>
                    <a:lnTo>
                      <a:pt x="918" y="372"/>
                    </a:lnTo>
                    <a:lnTo>
                      <a:pt x="949" y="378"/>
                    </a:lnTo>
                    <a:lnTo>
                      <a:pt x="973" y="386"/>
                    </a:lnTo>
                    <a:lnTo>
                      <a:pt x="1000" y="399"/>
                    </a:lnTo>
                    <a:lnTo>
                      <a:pt x="1023" y="414"/>
                    </a:lnTo>
                    <a:lnTo>
                      <a:pt x="1047" y="430"/>
                    </a:lnTo>
                    <a:lnTo>
                      <a:pt x="1064" y="445"/>
                    </a:lnTo>
                    <a:lnTo>
                      <a:pt x="1080" y="463"/>
                    </a:lnTo>
                    <a:lnTo>
                      <a:pt x="1094" y="478"/>
                    </a:lnTo>
                    <a:lnTo>
                      <a:pt x="1105" y="492"/>
                    </a:lnTo>
                    <a:lnTo>
                      <a:pt x="1113" y="503"/>
                    </a:lnTo>
                    <a:lnTo>
                      <a:pt x="1120" y="513"/>
                    </a:lnTo>
                    <a:lnTo>
                      <a:pt x="1108" y="519"/>
                    </a:lnTo>
                    <a:lnTo>
                      <a:pt x="1095" y="527"/>
                    </a:lnTo>
                    <a:lnTo>
                      <a:pt x="1082" y="537"/>
                    </a:lnTo>
                    <a:lnTo>
                      <a:pt x="1065" y="550"/>
                    </a:lnTo>
                    <a:lnTo>
                      <a:pt x="1035" y="586"/>
                    </a:lnTo>
                    <a:lnTo>
                      <a:pt x="1000" y="627"/>
                    </a:lnTo>
                    <a:lnTo>
                      <a:pt x="977" y="659"/>
                    </a:lnTo>
                    <a:lnTo>
                      <a:pt x="956" y="696"/>
                    </a:lnTo>
                    <a:lnTo>
                      <a:pt x="938" y="735"/>
                    </a:lnTo>
                    <a:lnTo>
                      <a:pt x="930" y="768"/>
                    </a:lnTo>
                    <a:lnTo>
                      <a:pt x="923" y="803"/>
                    </a:lnTo>
                    <a:lnTo>
                      <a:pt x="918" y="841"/>
                    </a:lnTo>
                    <a:lnTo>
                      <a:pt x="917" y="880"/>
                    </a:lnTo>
                    <a:lnTo>
                      <a:pt x="920" y="919"/>
                    </a:lnTo>
                    <a:lnTo>
                      <a:pt x="928" y="957"/>
                    </a:lnTo>
                    <a:lnTo>
                      <a:pt x="939" y="992"/>
                    </a:lnTo>
                    <a:lnTo>
                      <a:pt x="953" y="1025"/>
                    </a:lnTo>
                    <a:lnTo>
                      <a:pt x="971" y="1053"/>
                    </a:lnTo>
                    <a:lnTo>
                      <a:pt x="991" y="1080"/>
                    </a:lnTo>
                    <a:lnTo>
                      <a:pt x="1012" y="1103"/>
                    </a:lnTo>
                    <a:lnTo>
                      <a:pt x="1034" y="1122"/>
                    </a:lnTo>
                    <a:lnTo>
                      <a:pt x="1052" y="1141"/>
                    </a:lnTo>
                    <a:lnTo>
                      <a:pt x="1071" y="1158"/>
                    </a:lnTo>
                    <a:lnTo>
                      <a:pt x="1091" y="1172"/>
                    </a:lnTo>
                    <a:lnTo>
                      <a:pt x="1108" y="1182"/>
                    </a:lnTo>
                    <a:lnTo>
                      <a:pt x="1125" y="1194"/>
                    </a:lnTo>
                    <a:lnTo>
                      <a:pt x="1137" y="1201"/>
                    </a:lnTo>
                    <a:lnTo>
                      <a:pt x="1148" y="1205"/>
                    </a:lnTo>
                    <a:lnTo>
                      <a:pt x="1154" y="1209"/>
                    </a:lnTo>
                    <a:lnTo>
                      <a:pt x="1150" y="1218"/>
                    </a:lnTo>
                    <a:lnTo>
                      <a:pt x="1146" y="1230"/>
                    </a:lnTo>
                    <a:lnTo>
                      <a:pt x="1139" y="1247"/>
                    </a:lnTo>
                    <a:lnTo>
                      <a:pt x="1130" y="1268"/>
                    </a:lnTo>
                    <a:lnTo>
                      <a:pt x="1121" y="1293"/>
                    </a:lnTo>
                    <a:lnTo>
                      <a:pt x="1106" y="1323"/>
                    </a:lnTo>
                    <a:lnTo>
                      <a:pt x="1090" y="1357"/>
                    </a:lnTo>
                    <a:lnTo>
                      <a:pt x="1071" y="1393"/>
                    </a:lnTo>
                    <a:lnTo>
                      <a:pt x="1051" y="1427"/>
                    </a:lnTo>
                    <a:lnTo>
                      <a:pt x="1020" y="1477"/>
                    </a:lnTo>
                    <a:lnTo>
                      <a:pt x="987" y="1521"/>
                    </a:lnTo>
                    <a:lnTo>
                      <a:pt x="954" y="1560"/>
                    </a:lnTo>
                    <a:lnTo>
                      <a:pt x="935" y="1577"/>
                    </a:lnTo>
                    <a:lnTo>
                      <a:pt x="916" y="1592"/>
                    </a:lnTo>
                    <a:lnTo>
                      <a:pt x="897" y="1604"/>
                    </a:lnTo>
                    <a:lnTo>
                      <a:pt x="879" y="1611"/>
                    </a:lnTo>
                    <a:lnTo>
                      <a:pt x="860" y="1612"/>
                    </a:lnTo>
                    <a:lnTo>
                      <a:pt x="837" y="1610"/>
                    </a:lnTo>
                    <a:lnTo>
                      <a:pt x="816" y="1606"/>
                    </a:lnTo>
                    <a:lnTo>
                      <a:pt x="798" y="1603"/>
                    </a:lnTo>
                    <a:lnTo>
                      <a:pt x="784" y="1599"/>
                    </a:lnTo>
                    <a:lnTo>
                      <a:pt x="765" y="1591"/>
                    </a:lnTo>
                    <a:lnTo>
                      <a:pt x="746" y="1583"/>
                    </a:lnTo>
                    <a:lnTo>
                      <a:pt x="728" y="1574"/>
                    </a:lnTo>
                    <a:lnTo>
                      <a:pt x="717" y="1567"/>
                    </a:lnTo>
                    <a:lnTo>
                      <a:pt x="705" y="1559"/>
                    </a:lnTo>
                    <a:lnTo>
                      <a:pt x="693" y="1552"/>
                    </a:lnTo>
                    <a:lnTo>
                      <a:pt x="678" y="1548"/>
                    </a:lnTo>
                    <a:lnTo>
                      <a:pt x="659" y="1540"/>
                    </a:lnTo>
                    <a:lnTo>
                      <a:pt x="634" y="1534"/>
                    </a:lnTo>
                    <a:lnTo>
                      <a:pt x="608" y="1534"/>
                    </a:lnTo>
                    <a:lnTo>
                      <a:pt x="578" y="1534"/>
                    </a:lnTo>
                    <a:lnTo>
                      <a:pt x="550" y="1538"/>
                    </a:lnTo>
                    <a:lnTo>
                      <a:pt x="525" y="1544"/>
                    </a:lnTo>
                    <a:lnTo>
                      <a:pt x="494" y="1555"/>
                    </a:lnTo>
                    <a:lnTo>
                      <a:pt x="469" y="1566"/>
                    </a:lnTo>
                    <a:lnTo>
                      <a:pt x="450" y="1575"/>
                    </a:lnTo>
                    <a:lnTo>
                      <a:pt x="434" y="1584"/>
                    </a:lnTo>
                    <a:lnTo>
                      <a:pt x="419" y="1592"/>
                    </a:lnTo>
                    <a:lnTo>
                      <a:pt x="400" y="1598"/>
                    </a:lnTo>
                    <a:lnTo>
                      <a:pt x="384" y="1602"/>
                    </a:lnTo>
                    <a:lnTo>
                      <a:pt x="367" y="1603"/>
                    </a:lnTo>
                    <a:lnTo>
                      <a:pt x="344" y="1599"/>
                    </a:lnTo>
                    <a:lnTo>
                      <a:pt x="319" y="1591"/>
                    </a:lnTo>
                    <a:lnTo>
                      <a:pt x="296" y="1580"/>
                    </a:lnTo>
                    <a:lnTo>
                      <a:pt x="274" y="1568"/>
                    </a:lnTo>
                    <a:lnTo>
                      <a:pt x="252" y="1551"/>
                    </a:lnTo>
                    <a:lnTo>
                      <a:pt x="232" y="1528"/>
                    </a:lnTo>
                    <a:lnTo>
                      <a:pt x="208" y="1502"/>
                    </a:lnTo>
                    <a:lnTo>
                      <a:pt x="183" y="1469"/>
                    </a:lnTo>
                    <a:lnTo>
                      <a:pt x="159" y="1435"/>
                    </a:lnTo>
                    <a:lnTo>
                      <a:pt x="138" y="1399"/>
                    </a:lnTo>
                    <a:lnTo>
                      <a:pt x="114" y="1359"/>
                    </a:lnTo>
                    <a:lnTo>
                      <a:pt x="92" y="1315"/>
                    </a:lnTo>
                    <a:lnTo>
                      <a:pt x="71" y="1268"/>
                    </a:lnTo>
                    <a:lnTo>
                      <a:pt x="54" y="1219"/>
                    </a:lnTo>
                    <a:lnTo>
                      <a:pt x="39" y="1168"/>
                    </a:lnTo>
                    <a:lnTo>
                      <a:pt x="19" y="1090"/>
                    </a:lnTo>
                    <a:lnTo>
                      <a:pt x="6" y="1012"/>
                    </a:lnTo>
                    <a:lnTo>
                      <a:pt x="1" y="934"/>
                    </a:lnTo>
                    <a:lnTo>
                      <a:pt x="0" y="859"/>
                    </a:lnTo>
                    <a:lnTo>
                      <a:pt x="8" y="782"/>
                    </a:lnTo>
                    <a:lnTo>
                      <a:pt x="20" y="708"/>
                    </a:lnTo>
                    <a:lnTo>
                      <a:pt x="33" y="665"/>
                    </a:lnTo>
                    <a:lnTo>
                      <a:pt x="49" y="621"/>
                    </a:lnTo>
                    <a:lnTo>
                      <a:pt x="70" y="581"/>
                    </a:lnTo>
                    <a:lnTo>
                      <a:pt x="86" y="555"/>
                    </a:lnTo>
                    <a:lnTo>
                      <a:pt x="105" y="529"/>
                    </a:lnTo>
                    <a:lnTo>
                      <a:pt x="125" y="505"/>
                    </a:lnTo>
                    <a:lnTo>
                      <a:pt x="148" y="482"/>
                    </a:lnTo>
                    <a:lnTo>
                      <a:pt x="177" y="454"/>
                    </a:lnTo>
                    <a:lnTo>
                      <a:pt x="206" y="431"/>
                    </a:lnTo>
                    <a:lnTo>
                      <a:pt x="237" y="414"/>
                    </a:lnTo>
                    <a:lnTo>
                      <a:pt x="261" y="401"/>
                    </a:lnTo>
                    <a:lnTo>
                      <a:pt x="286" y="392"/>
                    </a:lnTo>
                    <a:lnTo>
                      <a:pt x="310" y="386"/>
                    </a:lnTo>
                    <a:lnTo>
                      <a:pt x="333" y="382"/>
                    </a:lnTo>
                    <a:lnTo>
                      <a:pt x="378" y="386"/>
                    </a:lnTo>
                    <a:lnTo>
                      <a:pt x="420" y="394"/>
                    </a:lnTo>
                    <a:lnTo>
                      <a:pt x="451" y="406"/>
                    </a:lnTo>
                    <a:lnTo>
                      <a:pt x="480" y="419"/>
                    </a:lnTo>
                    <a:lnTo>
                      <a:pt x="509" y="430"/>
                    </a:lnTo>
                    <a:lnTo>
                      <a:pt x="535" y="440"/>
                    </a:lnTo>
                    <a:lnTo>
                      <a:pt x="569" y="448"/>
                    </a:lnTo>
                    <a:lnTo>
                      <a:pt x="605" y="452"/>
                    </a:lnTo>
                    <a:lnTo>
                      <a:pt x="622" y="449"/>
                    </a:lnTo>
                    <a:lnTo>
                      <a:pt x="640" y="443"/>
                    </a:lnTo>
                    <a:lnTo>
                      <a:pt x="656" y="436"/>
                    </a:lnTo>
                    <a:lnTo>
                      <a:pt x="676" y="429"/>
                    </a:lnTo>
                    <a:lnTo>
                      <a:pt x="693" y="420"/>
                    </a:lnTo>
                    <a:lnTo>
                      <a:pt x="711" y="409"/>
                    </a:lnTo>
                    <a:lnTo>
                      <a:pt x="745" y="398"/>
                    </a:lnTo>
                    <a:lnTo>
                      <a:pt x="783" y="386"/>
                    </a:lnTo>
                    <a:lnTo>
                      <a:pt x="815" y="378"/>
                    </a:lnTo>
                    <a:lnTo>
                      <a:pt x="848" y="373"/>
                    </a:lnTo>
                    <a:lnTo>
                      <a:pt x="887" y="368"/>
                    </a:lnTo>
                    <a:close/>
                    <a:moveTo>
                      <a:pt x="882" y="0"/>
                    </a:moveTo>
                    <a:lnTo>
                      <a:pt x="883" y="19"/>
                    </a:lnTo>
                    <a:lnTo>
                      <a:pt x="882" y="36"/>
                    </a:lnTo>
                    <a:lnTo>
                      <a:pt x="883" y="53"/>
                    </a:lnTo>
                    <a:lnTo>
                      <a:pt x="873" y="100"/>
                    </a:lnTo>
                    <a:lnTo>
                      <a:pt x="867" y="121"/>
                    </a:lnTo>
                    <a:lnTo>
                      <a:pt x="861" y="143"/>
                    </a:lnTo>
                    <a:lnTo>
                      <a:pt x="854" y="160"/>
                    </a:lnTo>
                    <a:lnTo>
                      <a:pt x="847" y="175"/>
                    </a:lnTo>
                    <a:lnTo>
                      <a:pt x="839" y="188"/>
                    </a:lnTo>
                    <a:lnTo>
                      <a:pt x="824" y="210"/>
                    </a:lnTo>
                    <a:lnTo>
                      <a:pt x="805" y="232"/>
                    </a:lnTo>
                    <a:lnTo>
                      <a:pt x="783" y="252"/>
                    </a:lnTo>
                    <a:lnTo>
                      <a:pt x="763" y="269"/>
                    </a:lnTo>
                    <a:lnTo>
                      <a:pt x="742" y="286"/>
                    </a:lnTo>
                    <a:lnTo>
                      <a:pt x="719" y="300"/>
                    </a:lnTo>
                    <a:lnTo>
                      <a:pt x="696" y="313"/>
                    </a:lnTo>
                    <a:lnTo>
                      <a:pt x="673" y="324"/>
                    </a:lnTo>
                    <a:lnTo>
                      <a:pt x="649" y="335"/>
                    </a:lnTo>
                    <a:lnTo>
                      <a:pt x="611" y="343"/>
                    </a:lnTo>
                    <a:lnTo>
                      <a:pt x="571" y="347"/>
                    </a:lnTo>
                    <a:lnTo>
                      <a:pt x="565" y="349"/>
                    </a:lnTo>
                    <a:lnTo>
                      <a:pt x="565" y="349"/>
                    </a:lnTo>
                    <a:lnTo>
                      <a:pt x="565" y="349"/>
                    </a:lnTo>
                    <a:lnTo>
                      <a:pt x="563" y="349"/>
                    </a:lnTo>
                    <a:lnTo>
                      <a:pt x="561" y="349"/>
                    </a:lnTo>
                    <a:lnTo>
                      <a:pt x="558" y="333"/>
                    </a:lnTo>
                    <a:lnTo>
                      <a:pt x="557" y="318"/>
                    </a:lnTo>
                    <a:lnTo>
                      <a:pt x="555" y="303"/>
                    </a:lnTo>
                    <a:lnTo>
                      <a:pt x="554" y="287"/>
                    </a:lnTo>
                    <a:lnTo>
                      <a:pt x="564" y="262"/>
                    </a:lnTo>
                    <a:lnTo>
                      <a:pt x="575" y="238"/>
                    </a:lnTo>
                    <a:lnTo>
                      <a:pt x="580" y="225"/>
                    </a:lnTo>
                    <a:lnTo>
                      <a:pt x="587" y="210"/>
                    </a:lnTo>
                    <a:lnTo>
                      <a:pt x="597" y="194"/>
                    </a:lnTo>
                    <a:lnTo>
                      <a:pt x="625" y="159"/>
                    </a:lnTo>
                    <a:lnTo>
                      <a:pt x="638" y="138"/>
                    </a:lnTo>
                    <a:lnTo>
                      <a:pt x="653" y="125"/>
                    </a:lnTo>
                    <a:lnTo>
                      <a:pt x="668" y="107"/>
                    </a:lnTo>
                    <a:lnTo>
                      <a:pt x="684" y="91"/>
                    </a:lnTo>
                    <a:lnTo>
                      <a:pt x="700" y="77"/>
                    </a:lnTo>
                    <a:lnTo>
                      <a:pt x="760" y="40"/>
                    </a:lnTo>
                    <a:lnTo>
                      <a:pt x="780" y="30"/>
                    </a:lnTo>
                    <a:lnTo>
                      <a:pt x="801" y="22"/>
                    </a:lnTo>
                    <a:lnTo>
                      <a:pt x="821" y="18"/>
                    </a:lnTo>
                    <a:lnTo>
                      <a:pt x="845" y="9"/>
                    </a:lnTo>
                    <a:lnTo>
                      <a:pt x="866" y="4"/>
                    </a:lnTo>
                    <a:lnTo>
                      <a:pt x="882" y="0"/>
                    </a:lnTo>
                    <a:close/>
                  </a:path>
                </a:pathLst>
              </a:custGeom>
              <a:solidFill>
                <a:srgbClr val="3D58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spTree>
    <p:extLst>
      <p:ext uri="{BB962C8B-B14F-4D97-AF65-F5344CB8AC3E}">
        <p14:creationId xmlns:p14="http://schemas.microsoft.com/office/powerpoint/2010/main" val="662907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6"/>
                                        </p:tgtEl>
                                        <p:attrNameLst>
                                          <p:attrName>style.visibility</p:attrName>
                                        </p:attrNameLst>
                                      </p:cBhvr>
                                      <p:to>
                                        <p:strVal val="visible"/>
                                      </p:to>
                                    </p:set>
                                    <p:animEffect transition="in" filter="fade">
                                      <p:cBhvr>
                                        <p:cTn id="7" dur="500"/>
                                        <p:tgtEl>
                                          <p:spTgt spid="1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60"/>
                                        </p:tgtEl>
                                        <p:attrNameLst>
                                          <p:attrName>style.visibility</p:attrName>
                                        </p:attrNameLst>
                                      </p:cBhvr>
                                      <p:to>
                                        <p:strVal val="visible"/>
                                      </p:to>
                                    </p:set>
                                    <p:animEffect transition="in" filter="wipe(left)">
                                      <p:cBhvr>
                                        <p:cTn id="12" dur="500"/>
                                        <p:tgtEl>
                                          <p:spTgt spid="160"/>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81"/>
                                        </p:tgtEl>
                                        <p:attrNameLst>
                                          <p:attrName>style.visibility</p:attrName>
                                        </p:attrNameLst>
                                      </p:cBhvr>
                                      <p:to>
                                        <p:strVal val="visible"/>
                                      </p:to>
                                    </p:set>
                                    <p:animEffect transition="in" filter="fade">
                                      <p:cBhvr>
                                        <p:cTn id="16" dur="500"/>
                                        <p:tgtEl>
                                          <p:spTgt spid="18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64"/>
                                        </p:tgtEl>
                                        <p:attrNameLst>
                                          <p:attrName>style.visibility</p:attrName>
                                        </p:attrNameLst>
                                      </p:cBhvr>
                                      <p:to>
                                        <p:strVal val="visible"/>
                                      </p:to>
                                    </p:set>
                                    <p:animEffect transition="in" filter="wipe(left)">
                                      <p:cBhvr>
                                        <p:cTn id="21" dur="500"/>
                                        <p:tgtEl>
                                          <p:spTgt spid="164"/>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28"/>
                                        </p:tgtEl>
                                        <p:attrNameLst>
                                          <p:attrName>style.visibility</p:attrName>
                                        </p:attrNameLst>
                                      </p:cBhvr>
                                      <p:to>
                                        <p:strVal val="visible"/>
                                      </p:to>
                                    </p:set>
                                    <p:animEffect transition="in" filter="fade">
                                      <p:cBhvr>
                                        <p:cTn id="25" dur="500"/>
                                        <p:tgtEl>
                                          <p:spTgt spid="128"/>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70"/>
                                        </p:tgtEl>
                                        <p:attrNameLst>
                                          <p:attrName>style.visibility</p:attrName>
                                        </p:attrNameLst>
                                      </p:cBhvr>
                                      <p:to>
                                        <p:strVal val="visible"/>
                                      </p:to>
                                    </p:set>
                                    <p:animEffect transition="in" filter="wipe(left)">
                                      <p:cBhvr>
                                        <p:cTn id="30" dur="500"/>
                                        <p:tgtEl>
                                          <p:spTgt spid="170"/>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148"/>
                                        </p:tgtEl>
                                        <p:attrNameLst>
                                          <p:attrName>style.visibility</p:attrName>
                                        </p:attrNameLst>
                                      </p:cBhvr>
                                      <p:to>
                                        <p:strVal val="visible"/>
                                      </p:to>
                                    </p:set>
                                    <p:animEffect transition="in" filter="fade">
                                      <p:cBhvr>
                                        <p:cTn id="34" dur="500"/>
                                        <p:tgtEl>
                                          <p:spTgt spid="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smtClean="0"/>
              <a:t>Replication Traffic Reports</a:t>
            </a:r>
            <a:endParaRPr lang="en-US" dirty="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6237" y="1592262"/>
            <a:ext cx="8723272" cy="4924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2401560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smtClean="0"/>
              <a:t>Replication Traffic Reports</a:t>
            </a:r>
            <a:endParaRPr 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199" y="1293715"/>
            <a:ext cx="10714037" cy="5263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8834029" y="2875526"/>
            <a:ext cx="2071914" cy="46630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336284670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96" dirty="0"/>
              <a:t>Role-Based Administration For Reporting</a:t>
            </a:r>
          </a:p>
        </p:txBody>
      </p:sp>
      <p:sp>
        <p:nvSpPr>
          <p:cNvPr id="3" name="Text Placeholder 2"/>
          <p:cNvSpPr>
            <a:spLocks noGrp="1"/>
          </p:cNvSpPr>
          <p:nvPr>
            <p:ph type="body" sz="quarter" idx="10"/>
          </p:nvPr>
        </p:nvSpPr>
        <p:spPr>
          <a:xfrm>
            <a:off x="274638" y="1212850"/>
            <a:ext cx="11887200" cy="4296561"/>
          </a:xfrm>
        </p:spPr>
        <p:txBody>
          <a:bodyPr/>
          <a:lstStyle/>
          <a:p>
            <a:pPr lvl="0"/>
            <a:r>
              <a:rPr lang="en-US" sz="3600" dirty="0" err="1" smtClean="0">
                <a:latin typeface="+mj-lt"/>
              </a:rPr>
              <a:t>ConfigMgr</a:t>
            </a:r>
            <a:r>
              <a:rPr lang="en-US" sz="3600" dirty="0" smtClean="0">
                <a:latin typeface="+mj-lt"/>
              </a:rPr>
              <a:t> </a:t>
            </a:r>
            <a:r>
              <a:rPr lang="en-US" sz="3600" dirty="0">
                <a:latin typeface="+mj-lt"/>
              </a:rPr>
              <a:t>2012 </a:t>
            </a:r>
            <a:r>
              <a:rPr lang="en-US" sz="3600" dirty="0" smtClean="0">
                <a:latin typeface="+mj-lt"/>
              </a:rPr>
              <a:t>introduced Role-Based Administration</a:t>
            </a:r>
            <a:endParaRPr lang="en-US" sz="3600" dirty="0">
              <a:latin typeface="+mj-lt"/>
            </a:endParaRPr>
          </a:p>
          <a:p>
            <a:pPr lvl="0"/>
            <a:r>
              <a:rPr lang="en-US" sz="3600" dirty="0">
                <a:latin typeface="+mj-lt"/>
              </a:rPr>
              <a:t>Reporting built on SQL Reporting </a:t>
            </a:r>
            <a:r>
              <a:rPr lang="en-US" sz="3600" dirty="0" smtClean="0">
                <a:latin typeface="+mj-lt"/>
              </a:rPr>
              <a:t>Services, not RBA-aware</a:t>
            </a:r>
            <a:endParaRPr lang="en-US" sz="3600" dirty="0">
              <a:latin typeface="+mj-lt"/>
            </a:endParaRPr>
          </a:p>
          <a:p>
            <a:pPr lvl="0"/>
            <a:r>
              <a:rPr lang="en-US" sz="3600" dirty="0">
                <a:latin typeface="+mj-lt"/>
              </a:rPr>
              <a:t>With </a:t>
            </a:r>
            <a:r>
              <a:rPr lang="en-US" sz="3600" dirty="0" err="1"/>
              <a:t>ConfigMgr</a:t>
            </a:r>
            <a:r>
              <a:rPr lang="en-US" sz="3600" dirty="0"/>
              <a:t> 2012 R2</a:t>
            </a:r>
            <a:r>
              <a:rPr lang="en-US" sz="3600" dirty="0">
                <a:latin typeface="+mj-lt"/>
              </a:rPr>
              <a:t>, </a:t>
            </a:r>
            <a:r>
              <a:rPr lang="en-US" sz="3600" dirty="0" smtClean="0">
                <a:latin typeface="+mj-lt"/>
              </a:rPr>
              <a:t>all </a:t>
            </a:r>
            <a:r>
              <a:rPr lang="en-US" sz="3600" dirty="0">
                <a:latin typeface="+mj-lt"/>
              </a:rPr>
              <a:t>reports updated to use RBA configuration</a:t>
            </a:r>
          </a:p>
          <a:p>
            <a:pPr lvl="1"/>
            <a:r>
              <a:rPr lang="en-US" sz="1800" dirty="0">
                <a:latin typeface="+mj-lt"/>
              </a:rPr>
              <a:t>All views have been replaced by  </a:t>
            </a:r>
            <a:r>
              <a:rPr lang="en-US" sz="1800" dirty="0" err="1">
                <a:latin typeface="+mj-lt"/>
              </a:rPr>
              <a:t>fn_rbac</a:t>
            </a:r>
            <a:r>
              <a:rPr lang="en-US" sz="1800" dirty="0">
                <a:latin typeface="+mj-lt"/>
              </a:rPr>
              <a:t>_&lt;view name&gt;</a:t>
            </a:r>
          </a:p>
          <a:p>
            <a:pPr lvl="1"/>
            <a:r>
              <a:rPr lang="en-US" sz="1800" dirty="0">
                <a:latin typeface="+mj-lt"/>
              </a:rPr>
              <a:t>Custom reports should reference new functions if RBA </a:t>
            </a:r>
            <a:r>
              <a:rPr lang="en-US" sz="1800" dirty="0" smtClean="0">
                <a:latin typeface="+mj-lt"/>
              </a:rPr>
              <a:t>required</a:t>
            </a:r>
            <a:endParaRPr lang="en-US" sz="1800" dirty="0">
              <a:latin typeface="+mj-lt"/>
            </a:endParaRPr>
          </a:p>
          <a:p>
            <a:pPr lvl="0"/>
            <a:r>
              <a:rPr lang="en-US" sz="3600" dirty="0">
                <a:latin typeface="+mj-lt"/>
              </a:rPr>
              <a:t>Consistent with </a:t>
            </a:r>
            <a:r>
              <a:rPr lang="en-US" sz="3600" dirty="0" err="1" smtClean="0">
                <a:latin typeface="+mj-lt"/>
              </a:rPr>
              <a:t>ConfigMgr</a:t>
            </a:r>
            <a:r>
              <a:rPr lang="en-US" sz="3600" dirty="0" smtClean="0">
                <a:latin typeface="+mj-lt"/>
              </a:rPr>
              <a:t> console/”show me” behavior</a:t>
            </a:r>
            <a:endParaRPr lang="en-US" sz="3600" dirty="0">
              <a:latin typeface="+mj-lt"/>
            </a:endParaRPr>
          </a:p>
          <a:p>
            <a:endParaRPr lang="en-US" dirty="0"/>
          </a:p>
        </p:txBody>
      </p:sp>
      <p:grpSp>
        <p:nvGrpSpPr>
          <p:cNvPr id="5" name="Group 4"/>
          <p:cNvGrpSpPr/>
          <p:nvPr/>
        </p:nvGrpSpPr>
        <p:grpSpPr>
          <a:xfrm>
            <a:off x="7936176" y="4849018"/>
            <a:ext cx="5521407" cy="1808023"/>
            <a:chOff x="7846724" y="688776"/>
            <a:chExt cx="5890269" cy="1709909"/>
          </a:xfrm>
        </p:grpSpPr>
        <p:sp>
          <p:nvSpPr>
            <p:cNvPr id="6" name="Explosion 2 5"/>
            <p:cNvSpPr/>
            <p:nvPr/>
          </p:nvSpPr>
          <p:spPr bwMode="auto">
            <a:xfrm rot="329436">
              <a:off x="7846724" y="688776"/>
              <a:ext cx="5890269" cy="1709909"/>
            </a:xfrm>
            <a:prstGeom prst="irregularSeal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8772569" y="1100470"/>
              <a:ext cx="3836839" cy="849463"/>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rPr>
                <a:t>New in </a:t>
              </a:r>
              <a:r>
                <a:rPr lang="en-US" sz="2000" dirty="0" err="1" smtClean="0">
                  <a:gradFill>
                    <a:gsLst>
                      <a:gs pos="2917">
                        <a:schemeClr val="tx1"/>
                      </a:gs>
                      <a:gs pos="30000">
                        <a:schemeClr val="tx1"/>
                      </a:gs>
                    </a:gsLst>
                    <a:lin ang="5400000" scaled="0"/>
                  </a:gradFill>
                </a:rPr>
                <a:t>ConfigMgr</a:t>
              </a:r>
              <a:r>
                <a:rPr lang="en-US" sz="2000" dirty="0" smtClean="0">
                  <a:gradFill>
                    <a:gsLst>
                      <a:gs pos="2917">
                        <a:schemeClr val="tx1"/>
                      </a:gs>
                      <a:gs pos="30000">
                        <a:schemeClr val="tx1"/>
                      </a:gs>
                    </a:gsLst>
                    <a:lin ang="5400000" scaled="0"/>
                  </a:gradFill>
                </a:rPr>
                <a:t> 2012 R2 and Next Major </a:t>
              </a:r>
              <a:r>
                <a:rPr lang="en-US" sz="2000" dirty="0" err="1" smtClean="0">
                  <a:gradFill>
                    <a:gsLst>
                      <a:gs pos="2917">
                        <a:schemeClr val="tx1"/>
                      </a:gs>
                      <a:gs pos="30000">
                        <a:schemeClr val="tx1"/>
                      </a:gs>
                    </a:gsLst>
                    <a:lin ang="5400000" scaled="0"/>
                  </a:gradFill>
                </a:rPr>
                <a:t>Intune</a:t>
              </a:r>
              <a:r>
                <a:rPr lang="en-US" sz="2000" dirty="0" smtClean="0">
                  <a:gradFill>
                    <a:gsLst>
                      <a:gs pos="2917">
                        <a:schemeClr val="tx1"/>
                      </a:gs>
                      <a:gs pos="30000">
                        <a:schemeClr val="tx1"/>
                      </a:gs>
                    </a:gsLst>
                    <a:lin ang="5400000" scaled="0"/>
                  </a:gradFill>
                </a:rPr>
                <a:t> version</a:t>
              </a:r>
            </a:p>
          </p:txBody>
        </p:sp>
      </p:grpSp>
    </p:spTree>
    <p:extLst>
      <p:ext uri="{BB962C8B-B14F-4D97-AF65-F5344CB8AC3E}">
        <p14:creationId xmlns:p14="http://schemas.microsoft.com/office/powerpoint/2010/main" val="175173642"/>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ole-Based Administration for Reporting</a:t>
            </a:r>
            <a:endParaRPr lang="en-US" dirty="0"/>
          </a:p>
        </p:txBody>
      </p:sp>
    </p:spTree>
    <p:extLst>
      <p:ext uri="{BB962C8B-B14F-4D97-AF65-F5344CB8AC3E}">
        <p14:creationId xmlns:p14="http://schemas.microsoft.com/office/powerpoint/2010/main" val="2985721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smtClean="0"/>
              <a:t>Secondary Site Recovery</a:t>
            </a:r>
            <a:endParaRPr lang="en-US" dirty="0"/>
          </a:p>
        </p:txBody>
      </p:sp>
      <p:sp>
        <p:nvSpPr>
          <p:cNvPr id="3" name="Content Placeholder 2"/>
          <p:cNvSpPr>
            <a:spLocks noGrp="1"/>
          </p:cNvSpPr>
          <p:nvPr>
            <p:ph type="body" sz="quarter" idx="10"/>
          </p:nvPr>
        </p:nvSpPr>
        <p:spPr>
          <a:xfrm>
            <a:off x="274638" y="1212850"/>
            <a:ext cx="11887200" cy="5570756"/>
          </a:xfrm>
        </p:spPr>
        <p:txBody>
          <a:bodyPr/>
          <a:lstStyle/>
          <a:p>
            <a:r>
              <a:rPr lang="en-US" dirty="0" smtClean="0"/>
              <a:t>Easy secondary site recovery</a:t>
            </a:r>
          </a:p>
          <a:p>
            <a:r>
              <a:rPr lang="en-US" dirty="0" smtClean="0"/>
              <a:t>Prepare secondary site hardware with all prerequisites as if new installation</a:t>
            </a:r>
          </a:p>
          <a:p>
            <a:r>
              <a:rPr lang="en-US" dirty="0" smtClean="0"/>
              <a:t>Approach: Deploy </a:t>
            </a:r>
            <a:r>
              <a:rPr lang="en-US" dirty="0" err="1" smtClean="0"/>
              <a:t>seconday</a:t>
            </a:r>
            <a:r>
              <a:rPr lang="en-US" dirty="0" smtClean="0"/>
              <a:t> site “like new” but perform </a:t>
            </a:r>
            <a:r>
              <a:rPr lang="en-US" dirty="0" err="1" smtClean="0"/>
              <a:t>reinit</a:t>
            </a:r>
            <a:r>
              <a:rPr lang="en-US" dirty="0" smtClean="0"/>
              <a:t> with existing data</a:t>
            </a:r>
          </a:p>
          <a:p>
            <a:pPr lvl="1"/>
            <a:r>
              <a:rPr lang="en-US" dirty="0" smtClean="0"/>
              <a:t>Potential loss of local DP content library</a:t>
            </a:r>
          </a:p>
          <a:p>
            <a:pPr lvl="1"/>
            <a:r>
              <a:rPr lang="en-US" dirty="0" smtClean="0"/>
              <a:t>All secondary site remote DP content for that secondary remain intact</a:t>
            </a:r>
          </a:p>
          <a:p>
            <a:pPr lvl="1"/>
            <a:r>
              <a:rPr lang="en-US" dirty="0" smtClean="0"/>
              <a:t>Will recover existing content library if intact</a:t>
            </a:r>
          </a:p>
          <a:p>
            <a:pPr lvl="1"/>
            <a:endParaRPr lang="en-US" dirty="0" smtClean="0"/>
          </a:p>
          <a:p>
            <a:pPr lvl="1"/>
            <a:r>
              <a:rPr lang="en-US" dirty="0" smtClean="0"/>
              <a:t>*NOTE: Must install same version of SQL as </a:t>
            </a:r>
            <a:r>
              <a:rPr lang="en-US" dirty="0" err="1" smtClean="0"/>
              <a:t>prereq</a:t>
            </a:r>
            <a:r>
              <a:rPr lang="en-US" dirty="0" smtClean="0"/>
              <a:t> </a:t>
            </a:r>
          </a:p>
          <a:p>
            <a:endParaRPr lang="en-US" dirty="0"/>
          </a:p>
        </p:txBody>
      </p:sp>
    </p:spTree>
    <p:extLst>
      <p:ext uri="{BB962C8B-B14F-4D97-AF65-F5344CB8AC3E}">
        <p14:creationId xmlns:p14="http://schemas.microsoft.com/office/powerpoint/2010/main" val="413227564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lang="en-US" sz="4080" dirty="0"/>
              <a:t>Secondary Site Recovery</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3837" y="1554339"/>
            <a:ext cx="9215909" cy="49474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2865437" y="1668462"/>
            <a:ext cx="932361" cy="620219"/>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15702160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896" dirty="0"/>
              <a:t>In Review: Session </a:t>
            </a:r>
            <a:r>
              <a:rPr lang="en-US" sz="4896"/>
              <a:t>Objectives </a:t>
            </a:r>
            <a:r>
              <a:rPr lang="en-US" sz="4896" smtClean="0"/>
              <a:t>/ Takeaways</a:t>
            </a:r>
            <a:endParaRPr lang="en-US" sz="4896" dirty="0"/>
          </a:p>
        </p:txBody>
      </p:sp>
      <p:sp>
        <p:nvSpPr>
          <p:cNvPr id="6" name="Text Placeholder 5"/>
          <p:cNvSpPr>
            <a:spLocks noGrp="1"/>
          </p:cNvSpPr>
          <p:nvPr>
            <p:ph type="body" sz="quarter" idx="10"/>
          </p:nvPr>
        </p:nvSpPr>
        <p:spPr>
          <a:xfrm>
            <a:off x="274638" y="1212850"/>
            <a:ext cx="11887200" cy="6186309"/>
          </a:xfrm>
        </p:spPr>
        <p:txBody>
          <a:bodyPr/>
          <a:lstStyle/>
          <a:p>
            <a:r>
              <a:rPr lang="en-US" dirty="0" smtClean="0"/>
              <a:t>Session Objectives </a:t>
            </a:r>
          </a:p>
          <a:p>
            <a:pPr lvl="1"/>
            <a:endParaRPr lang="en-US" dirty="0"/>
          </a:p>
          <a:p>
            <a:r>
              <a:rPr lang="en-US" sz="3600" dirty="0"/>
              <a:t>Discuss continued Hierarchy Simplification in </a:t>
            </a:r>
            <a:r>
              <a:rPr lang="en-US" sz="3600" dirty="0" smtClean="0"/>
              <a:t>Configuration Manager 2012 R2</a:t>
            </a:r>
            <a:endParaRPr lang="en-US" sz="3600" dirty="0"/>
          </a:p>
          <a:p>
            <a:r>
              <a:rPr lang="en-US" sz="3600" dirty="0"/>
              <a:t>Discuss improvements in Content management in Configuration Manager 2012 R2</a:t>
            </a:r>
          </a:p>
          <a:p>
            <a:r>
              <a:rPr lang="en-US" sz="3600" dirty="0"/>
              <a:t>Discuss improved reporting system in Configuration Manager 2012 R2</a:t>
            </a:r>
          </a:p>
          <a:p>
            <a:r>
              <a:rPr lang="en-US" sz="3600" dirty="0"/>
              <a:t>Discuss improved Infrastructure management in Configuration Manager 2012 R2</a:t>
            </a:r>
          </a:p>
          <a:p>
            <a:endParaRPr lang="en-US" dirty="0"/>
          </a:p>
        </p:txBody>
      </p:sp>
    </p:spTree>
    <p:extLst>
      <p:ext uri="{BB962C8B-B14F-4D97-AF65-F5344CB8AC3E}">
        <p14:creationId xmlns:p14="http://schemas.microsoft.com/office/powerpoint/2010/main" val="390105669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3" name="Table 12"/>
          <p:cNvGraphicFramePr>
            <a:graphicFrameLocks noGrp="1"/>
          </p:cNvGraphicFramePr>
          <p:nvPr>
            <p:extLst>
              <p:ext uri="{D42A27DB-BD31-4B8C-83A1-F6EECF244321}">
                <p14:modId xmlns:p14="http://schemas.microsoft.com/office/powerpoint/2010/main" val="3508604768"/>
              </p:ext>
            </p:extLst>
          </p:nvPr>
        </p:nvGraphicFramePr>
        <p:xfrm>
          <a:off x="366141" y="1302727"/>
          <a:ext cx="11704192" cy="5117511"/>
        </p:xfrm>
        <a:graphic>
          <a:graphicData uri="http://schemas.openxmlformats.org/drawingml/2006/table">
            <a:tbl>
              <a:tblPr firstRow="1" firstCol="1" bandRow="1">
                <a:tableStyleId>{5C22544A-7EE6-4342-B048-85BDC9FD1C3A}</a:tableStyleId>
              </a:tblPr>
              <a:tblGrid>
                <a:gridCol w="1241874"/>
                <a:gridCol w="4908507"/>
                <a:gridCol w="2788742"/>
                <a:gridCol w="2765069"/>
              </a:tblGrid>
              <a:tr h="491959">
                <a:tc>
                  <a:txBody>
                    <a:bodyPr/>
                    <a:lstStyle/>
                    <a:p>
                      <a:pPr marL="0" marR="0">
                        <a:spcBef>
                          <a:spcPts val="0"/>
                        </a:spcBef>
                        <a:spcAft>
                          <a:spcPts val="0"/>
                        </a:spcAft>
                      </a:pPr>
                      <a:r>
                        <a:rPr lang="en-US" sz="1400" dirty="0" smtClean="0">
                          <a:effectLst/>
                          <a:latin typeface="Calibri"/>
                          <a:ea typeface="Calibri"/>
                          <a:cs typeface="Times New Roman"/>
                        </a:rPr>
                        <a:t>Session ID</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400" smtClean="0">
                          <a:effectLst/>
                          <a:latin typeface="Calibri"/>
                          <a:ea typeface="Calibri"/>
                          <a:cs typeface="Times New Roman"/>
                        </a:rPr>
                        <a:t>Title</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400" smtClean="0">
                          <a:effectLst/>
                          <a:latin typeface="Calibri"/>
                          <a:ea typeface="Calibri"/>
                          <a:cs typeface="Times New Roman"/>
                        </a:rPr>
                        <a:t>Speakers</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400" smtClean="0">
                          <a:effectLst/>
                          <a:latin typeface="Calibri"/>
                          <a:ea typeface="Calibri"/>
                          <a:cs typeface="Times New Roman"/>
                        </a:rPr>
                        <a:t>Time</a:t>
                      </a:r>
                      <a:endParaRPr lang="en-US" sz="1400">
                        <a:effectLst/>
                        <a:latin typeface="Calibri"/>
                        <a:ea typeface="Calibri"/>
                        <a:cs typeface="Times New Roman"/>
                      </a:endParaRPr>
                    </a:p>
                  </a:txBody>
                  <a:tcPr marL="36305" marR="36305" marT="0" marB="0"/>
                </a:tc>
              </a:tr>
              <a:tr h="611957">
                <a:tc>
                  <a:txBody>
                    <a:bodyPr/>
                    <a:lstStyle/>
                    <a:p>
                      <a:pPr marL="0" marR="0">
                        <a:spcBef>
                          <a:spcPts val="0"/>
                        </a:spcBef>
                        <a:spcAft>
                          <a:spcPts val="0"/>
                        </a:spcAft>
                      </a:pPr>
                      <a:r>
                        <a:rPr lang="en-US" sz="1200">
                          <a:effectLst/>
                        </a:rPr>
                        <a:t>WCA-B304</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Application Delivery with Microsoft System Center 2012 - Configuration Manager SP1 and Windows Intune</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Mark Florida; Nilesh Bhide</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14 6/28 10:15-11:30</a:t>
                      </a:r>
                      <a:endParaRPr lang="en-US" sz="1400">
                        <a:effectLst/>
                        <a:latin typeface="Calibri"/>
                        <a:ea typeface="Calibri"/>
                        <a:cs typeface="Times New Roman"/>
                      </a:endParaRPr>
                    </a:p>
                  </a:txBody>
                  <a:tcPr marL="36305" marR="36305" marT="0" marB="0"/>
                </a:tc>
              </a:tr>
              <a:tr h="815943">
                <a:tc>
                  <a:txBody>
                    <a:bodyPr/>
                    <a:lstStyle/>
                    <a:p>
                      <a:pPr marL="0" marR="0">
                        <a:spcBef>
                          <a:spcPts val="0"/>
                        </a:spcBef>
                        <a:spcAft>
                          <a:spcPts val="0"/>
                        </a:spcAft>
                      </a:pPr>
                      <a:r>
                        <a:rPr lang="en-US" sz="1200">
                          <a:effectLst/>
                        </a:rPr>
                        <a:t>WCA-B310</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Deploying and Configuring Mobile Device Management Infrastructure with Microsoft System Center 2012 - Configuration Manager SP1 and Windows </a:t>
                      </a:r>
                      <a:r>
                        <a:rPr lang="en-US" sz="1200" dirty="0" err="1">
                          <a:effectLst/>
                        </a:rPr>
                        <a:t>Intune</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Craig Morris; Ramya Chitrakar</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05 6/26 10:15-11:30</a:t>
                      </a:r>
                      <a:endParaRPr lang="en-US" sz="1400">
                        <a:effectLst/>
                        <a:latin typeface="Calibri"/>
                        <a:ea typeface="Calibri"/>
                        <a:cs typeface="Times New Roman"/>
                      </a:endParaRPr>
                    </a:p>
                  </a:txBody>
                  <a:tcPr marL="36305" marR="36305" marT="0" marB="0"/>
                </a:tc>
              </a:tr>
              <a:tr h="743239">
                <a:tc>
                  <a:txBody>
                    <a:bodyPr/>
                    <a:lstStyle/>
                    <a:p>
                      <a:pPr marL="0" marR="0">
                        <a:spcBef>
                          <a:spcPts val="0"/>
                        </a:spcBef>
                        <a:spcAft>
                          <a:spcPts val="0"/>
                        </a:spcAft>
                      </a:pPr>
                      <a:r>
                        <a:rPr lang="en-US" sz="1200">
                          <a:effectLst/>
                        </a:rPr>
                        <a:t>WCA-B312</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Deploying and Managing Windows 8 with Microsoft System Center 2012 - Configuration Manager SP1</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Aaron Czechowski; Jason Githens</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09 6/27 10:15-11:30</a:t>
                      </a:r>
                      <a:endParaRPr lang="en-US" sz="1400">
                        <a:effectLst/>
                        <a:latin typeface="Calibri"/>
                        <a:ea typeface="Calibri"/>
                        <a:cs typeface="Times New Roman"/>
                      </a:endParaRPr>
                    </a:p>
                  </a:txBody>
                  <a:tcPr marL="36305" marR="36305" marT="0" marB="0"/>
                </a:tc>
              </a:tr>
              <a:tr h="414280">
                <a:tc>
                  <a:txBody>
                    <a:bodyPr/>
                    <a:lstStyle/>
                    <a:p>
                      <a:pPr marL="0" marR="0">
                        <a:spcBef>
                          <a:spcPts val="0"/>
                        </a:spcBef>
                        <a:spcAft>
                          <a:spcPts val="0"/>
                        </a:spcAft>
                      </a:pPr>
                      <a:r>
                        <a:rPr lang="en-US" sz="1200">
                          <a:effectLst/>
                        </a:rPr>
                        <a:t>WCA-B328</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Microsoft System Center 2012 Configuration Manager SP1 Overview</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smtClean="0">
                          <a:effectLst/>
                        </a:rPr>
                        <a:t>Wally Mead; </a:t>
                      </a:r>
                      <a:r>
                        <a:rPr lang="en-US" sz="1200" dirty="0">
                          <a:effectLst/>
                        </a:rPr>
                        <a:t>Mark Florida</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04 6/26 8:30-9:45</a:t>
                      </a:r>
                      <a:endParaRPr lang="en-US" sz="1400">
                        <a:effectLst/>
                        <a:latin typeface="Calibri"/>
                        <a:ea typeface="Calibri"/>
                        <a:cs typeface="Times New Roman"/>
                      </a:endParaRPr>
                    </a:p>
                  </a:txBody>
                  <a:tcPr marL="36305" marR="36305" marT="0" marB="0"/>
                </a:tc>
              </a:tr>
              <a:tr h="621422">
                <a:tc>
                  <a:txBody>
                    <a:bodyPr/>
                    <a:lstStyle/>
                    <a:p>
                      <a:pPr marL="0" marR="0">
                        <a:spcBef>
                          <a:spcPts val="0"/>
                        </a:spcBef>
                        <a:spcAft>
                          <a:spcPts val="0"/>
                        </a:spcAft>
                      </a:pPr>
                      <a:r>
                        <a:rPr lang="en-US" sz="1200">
                          <a:effectLst/>
                        </a:rPr>
                        <a:t>WCA-B343</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Unified Modern Device Management with Microsoft System Center 2012 - Configuration Manager SP1 Integrated with Windows </a:t>
                      </a:r>
                      <a:r>
                        <a:rPr lang="en-US" sz="1200" dirty="0" err="1">
                          <a:effectLst/>
                        </a:rPr>
                        <a:t>Intune</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Nilesh Bhide</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08 6/26 17:00-18:15</a:t>
                      </a:r>
                      <a:endParaRPr lang="en-US" sz="1400">
                        <a:effectLst/>
                        <a:latin typeface="Calibri"/>
                        <a:ea typeface="Calibri"/>
                        <a:cs typeface="Times New Roman"/>
                      </a:endParaRPr>
                    </a:p>
                  </a:txBody>
                  <a:tcPr marL="36305" marR="36305" marT="0" marB="0"/>
                </a:tc>
              </a:tr>
              <a:tr h="414280">
                <a:tc>
                  <a:txBody>
                    <a:bodyPr/>
                    <a:lstStyle/>
                    <a:p>
                      <a:pPr marL="0" marR="0">
                        <a:spcBef>
                          <a:spcPts val="0"/>
                        </a:spcBef>
                        <a:spcAft>
                          <a:spcPts val="0"/>
                        </a:spcAft>
                      </a:pPr>
                      <a:r>
                        <a:rPr lang="en-US" sz="1200">
                          <a:effectLst/>
                        </a:rPr>
                        <a:t>WCA-B347</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What’s New with Microsoft Deployment Toolkit 2012 Update 1</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Aaron Czechowski; Jason Githens</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16 6/28 14:45-16:00</a:t>
                      </a:r>
                      <a:endParaRPr lang="en-US" sz="1400">
                        <a:effectLst/>
                        <a:latin typeface="Calibri"/>
                        <a:ea typeface="Calibri"/>
                        <a:cs typeface="Times New Roman"/>
                      </a:endParaRPr>
                    </a:p>
                  </a:txBody>
                  <a:tcPr marL="36305" marR="36305" marT="0" marB="0"/>
                </a:tc>
              </a:tr>
              <a:tr h="590151">
                <a:tc>
                  <a:txBody>
                    <a:bodyPr/>
                    <a:lstStyle/>
                    <a:p>
                      <a:pPr marL="0" marR="0">
                        <a:spcBef>
                          <a:spcPts val="0"/>
                        </a:spcBef>
                        <a:spcAft>
                          <a:spcPts val="0"/>
                        </a:spcAft>
                      </a:pPr>
                      <a:r>
                        <a:rPr lang="en-US" sz="1200">
                          <a:effectLst/>
                        </a:rPr>
                        <a:t>WCA-B348</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What's New in Infrastructure: Microsoft System Center 2012 - Configuration Manager SP1 Infrastructure Improvements and Hierarchy Design</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Wally Mead</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16 6/28 14:45-16:00</a:t>
                      </a:r>
                      <a:endParaRPr lang="en-US" sz="1400">
                        <a:effectLst/>
                        <a:latin typeface="Calibri"/>
                        <a:ea typeface="Calibri"/>
                        <a:cs typeface="Times New Roman"/>
                      </a:endParaRPr>
                    </a:p>
                  </a:txBody>
                  <a:tcPr marL="36305" marR="36305" marT="0" marB="0"/>
                </a:tc>
              </a:tr>
              <a:tr h="414280">
                <a:tc>
                  <a:txBody>
                    <a:bodyPr/>
                    <a:lstStyle/>
                    <a:p>
                      <a:pPr marL="0" marR="0">
                        <a:spcBef>
                          <a:spcPts val="0"/>
                        </a:spcBef>
                        <a:spcAft>
                          <a:spcPts val="0"/>
                        </a:spcAft>
                      </a:pPr>
                      <a:r>
                        <a:rPr lang="en-US" sz="1200">
                          <a:effectLst/>
                        </a:rPr>
                        <a:t>WCA-B356</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Windows Intune Overview</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Nilesh Bhide</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S07 6/26 15:15-16:30</a:t>
                      </a:r>
                      <a:endParaRPr lang="en-US" sz="1400" dirty="0">
                        <a:effectLst/>
                        <a:latin typeface="Calibri"/>
                        <a:ea typeface="Calibri"/>
                        <a:cs typeface="Times New Roman"/>
                      </a:endParaRPr>
                    </a:p>
                  </a:txBody>
                  <a:tcPr marL="36305" marR="36305" marT="0" marB="0"/>
                </a:tc>
              </a:tr>
            </a:tbl>
          </a:graphicData>
        </a:graphic>
      </p:graphicFrame>
    </p:spTree>
    <p:extLst>
      <p:ext uri="{BB962C8B-B14F-4D97-AF65-F5344CB8AC3E}">
        <p14:creationId xmlns:p14="http://schemas.microsoft.com/office/powerpoint/2010/main" val="119198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Track Resources</a:t>
            </a:r>
            <a:endParaRPr lang="en-US" dirty="0"/>
          </a:p>
        </p:txBody>
      </p:sp>
      <p:sp>
        <p:nvSpPr>
          <p:cNvPr id="6" name="Rectangle 5"/>
          <p:cNvSpPr/>
          <p:nvPr/>
        </p:nvSpPr>
        <p:spPr bwMode="auto">
          <a:xfrm>
            <a:off x="266520" y="1295327"/>
            <a:ext cx="11885832" cy="548241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2499" y="139628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solidFill>
                  <a:srgbClr val="FFFFFF"/>
                </a:solidFill>
              </a:rPr>
              <a:t>Windows Enterprise: </a:t>
            </a:r>
            <a:r>
              <a:rPr lang="en-US" sz="3599" u="sng" dirty="0">
                <a:solidFill>
                  <a:srgbClr val="00B0F0"/>
                </a:solidFill>
                <a:hlinkClick r:id="rId4" action="ppaction://hlinkfile"/>
              </a:rPr>
              <a:t>windows.com/enterprise</a:t>
            </a:r>
            <a:r>
              <a:rPr lang="en-US" sz="3599" dirty="0">
                <a:solidFill>
                  <a:srgbClr val="FFFFFF"/>
                </a:solidFill>
              </a:rPr>
              <a:t> </a:t>
            </a:r>
          </a:p>
        </p:txBody>
      </p:sp>
      <p:sp>
        <p:nvSpPr>
          <p:cNvPr id="8" name="Rectangle 7"/>
          <p:cNvSpPr/>
          <p:nvPr/>
        </p:nvSpPr>
        <p:spPr bwMode="invGray">
          <a:xfrm>
            <a:off x="372499" y="2307787"/>
            <a:ext cx="11788497" cy="612897"/>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Springboard: </a:t>
            </a:r>
            <a:r>
              <a:rPr lang="en-US" sz="3672" u="sng" dirty="0">
                <a:solidFill>
                  <a:srgbClr val="00B0F0"/>
                </a:solidFill>
                <a:hlinkClick r:id="rId5" action="ppaction://hlinkfile"/>
              </a:rPr>
              <a:t>windows.com/</a:t>
            </a:r>
            <a:r>
              <a:rPr lang="en-US" sz="3672" u="sng" dirty="0" err="1">
                <a:solidFill>
                  <a:srgbClr val="00B0F0"/>
                </a:solidFill>
                <a:hlinkClick r:id="rId5" action="ppaction://hlinkfile"/>
              </a:rPr>
              <a:t>ITpro</a:t>
            </a:r>
            <a:endParaRPr lang="en-US" sz="3599" u="sng" dirty="0">
              <a:solidFill>
                <a:srgbClr val="00B0F0"/>
              </a:solidFill>
            </a:endParaRPr>
          </a:p>
        </p:txBody>
      </p:sp>
      <p:sp>
        <p:nvSpPr>
          <p:cNvPr id="9" name="Rectangle 8"/>
          <p:cNvSpPr/>
          <p:nvPr/>
        </p:nvSpPr>
        <p:spPr bwMode="invGray">
          <a:xfrm>
            <a:off x="372499" y="3219288"/>
            <a:ext cx="11788497" cy="1732356"/>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Microsoft Desktop Optimization Package (MDOP): </a:t>
            </a:r>
            <a:r>
              <a:rPr lang="en-US" sz="3599" u="sng" dirty="0">
                <a:solidFill>
                  <a:srgbClr val="00B0F0"/>
                </a:solidFill>
                <a:hlinkClick r:id="rId6" action="ppaction://hlinkfile"/>
              </a:rPr>
              <a:t>microsoft.com/</a:t>
            </a:r>
            <a:r>
              <a:rPr lang="en-US" sz="3599" u="sng" dirty="0" err="1">
                <a:solidFill>
                  <a:srgbClr val="00B0F0"/>
                </a:solidFill>
                <a:hlinkClick r:id="rId6" action="ppaction://hlinkfile"/>
              </a:rPr>
              <a:t>mdop</a:t>
            </a:r>
            <a:endParaRPr lang="en-US" sz="3599" u="sng" dirty="0">
              <a:solidFill>
                <a:srgbClr val="00B0F0"/>
              </a:solidFill>
            </a:endParaRPr>
          </a:p>
          <a:p>
            <a:pPr defTabSz="932563">
              <a:lnSpc>
                <a:spcPct val="90000"/>
              </a:lnSpc>
              <a:spcBef>
                <a:spcPct val="20000"/>
              </a:spcBef>
              <a:buSzPct val="105000"/>
            </a:pPr>
            <a:endParaRPr lang="en-US" sz="3599" dirty="0">
              <a:gradFill>
                <a:gsLst>
                  <a:gs pos="1250">
                    <a:srgbClr val="FFFFFF"/>
                  </a:gs>
                  <a:gs pos="100000">
                    <a:srgbClr val="FFFFFF"/>
                  </a:gs>
                </a:gsLst>
                <a:lin ang="5400000" scaled="0"/>
              </a:gradFill>
            </a:endParaRPr>
          </a:p>
        </p:txBody>
      </p:sp>
      <p:sp>
        <p:nvSpPr>
          <p:cNvPr id="10" name="Rectangle 9"/>
          <p:cNvSpPr/>
          <p:nvPr/>
        </p:nvSpPr>
        <p:spPr bwMode="invGray">
          <a:xfrm>
            <a:off x="372499" y="4437093"/>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Desktop Virtualization (DV): </a:t>
            </a:r>
            <a:r>
              <a:rPr lang="en-US" sz="3599" u="sng" dirty="0">
                <a:solidFill>
                  <a:srgbClr val="00B0F0"/>
                </a:solidFill>
                <a:hlinkClick r:id="rId7" action="ppaction://hlinkfile"/>
              </a:rPr>
              <a:t>microsoft.com/dv</a:t>
            </a:r>
            <a:endParaRPr lang="en-US" sz="3599" u="sng" dirty="0">
              <a:solidFill>
                <a:srgbClr val="00B0F0"/>
              </a:solidFill>
            </a:endParaRPr>
          </a:p>
        </p:txBody>
      </p:sp>
      <p:sp useBgFill="1">
        <p:nvSpPr>
          <p:cNvPr id="11" name="Freeform 10"/>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invGray">
          <a:xfrm>
            <a:off x="372499" y="5240451"/>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To Go: </a:t>
            </a:r>
            <a:r>
              <a:rPr lang="en-US" sz="3599" u="sng" dirty="0">
                <a:solidFill>
                  <a:srgbClr val="00B0F0"/>
                </a:solidFill>
                <a:hlinkClick r:id="rId8" action="ppaction://hlinkfile"/>
              </a:rPr>
              <a:t>microsoft.com/windows/</a:t>
            </a:r>
            <a:r>
              <a:rPr lang="en-US" sz="3599" u="sng" dirty="0" err="1">
                <a:solidFill>
                  <a:srgbClr val="00B0F0"/>
                </a:solidFill>
                <a:hlinkClick r:id="rId8" action="ppaction://hlinkfile"/>
              </a:rPr>
              <a:t>wtg</a:t>
            </a:r>
            <a:endParaRPr lang="en-US" sz="3599" u="sng" dirty="0">
              <a:solidFill>
                <a:srgbClr val="00B0F0"/>
              </a:solidFill>
            </a:endParaRPr>
          </a:p>
        </p:txBody>
      </p:sp>
      <p:sp>
        <p:nvSpPr>
          <p:cNvPr id="14" name="Rectangle 13"/>
          <p:cNvSpPr/>
          <p:nvPr/>
        </p:nvSpPr>
        <p:spPr bwMode="invGray">
          <a:xfrm>
            <a:off x="372499" y="602642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Outlook.com: </a:t>
            </a:r>
            <a:r>
              <a:rPr lang="en-US" sz="3599" u="sng" dirty="0">
                <a:solidFill>
                  <a:srgbClr val="00B0F0"/>
                </a:solidFill>
                <a:hlinkClick r:id="rId9" action="ppaction://hlinkfile"/>
              </a:rPr>
              <a:t>tryoutlook.com</a:t>
            </a:r>
            <a:endParaRPr lang="en-US" sz="3599" u="sng" dirty="0">
              <a:solidFill>
                <a:srgbClr val="00B0F0"/>
              </a:solidFill>
            </a:endParaRPr>
          </a:p>
        </p:txBody>
      </p:sp>
    </p:spTree>
    <p:extLst>
      <p:ext uri="{BB962C8B-B14F-4D97-AF65-F5344CB8AC3E}">
        <p14:creationId xmlns:p14="http://schemas.microsoft.com/office/powerpoint/2010/main" val="415895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1000" fill="hold"/>
                                        <p:tgtEl>
                                          <p:spTgt spid="9"/>
                                        </p:tgtEl>
                                        <p:attrNameLst>
                                          <p:attrName>ppt_x</p:attrName>
                                        </p:attrNameLst>
                                      </p:cBhvr>
                                      <p:tavLst>
                                        <p:tav tm="0">
                                          <p:val>
                                            <p:strVal val="0-#ppt_w/2"/>
                                          </p:val>
                                        </p:tav>
                                        <p:tav tm="100000">
                                          <p:val>
                                            <p:strVal val="#ppt_x"/>
                                          </p:val>
                                        </p:tav>
                                      </p:tavLst>
                                    </p:anim>
                                    <p:anim calcmode="lin" valueType="num">
                                      <p:cBhvr additive="base">
                                        <p:cTn id="20" dur="10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5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1000" fill="hold"/>
                                        <p:tgtEl>
                                          <p:spTgt spid="10"/>
                                        </p:tgtEl>
                                        <p:attrNameLst>
                                          <p:attrName>ppt_x</p:attrName>
                                        </p:attrNameLst>
                                      </p:cBhvr>
                                      <p:tavLst>
                                        <p:tav tm="0">
                                          <p:val>
                                            <p:strVal val="0-#ppt_w/2"/>
                                          </p:val>
                                        </p:tav>
                                        <p:tav tm="100000">
                                          <p:val>
                                            <p:strVal val="#ppt_x"/>
                                          </p:val>
                                        </p:tav>
                                      </p:tavLst>
                                    </p:anim>
                                    <p:anim calcmode="lin" valueType="num">
                                      <p:cBhvr additive="base">
                                        <p:cTn id="24" dur="1000" fill="hold"/>
                                        <p:tgtEl>
                                          <p:spTgt spid="10"/>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000" fill="hold"/>
                                        <p:tgtEl>
                                          <p:spTgt spid="13"/>
                                        </p:tgtEl>
                                        <p:attrNameLst>
                                          <p:attrName>ppt_x</p:attrName>
                                        </p:attrNameLst>
                                      </p:cBhvr>
                                      <p:tavLst>
                                        <p:tav tm="0">
                                          <p:val>
                                            <p:strVal val="0-#ppt_w/2"/>
                                          </p:val>
                                        </p:tav>
                                        <p:tav tm="100000">
                                          <p:val>
                                            <p:strVal val="#ppt_x"/>
                                          </p:val>
                                        </p:tav>
                                      </p:tavLst>
                                    </p:anim>
                                    <p:anim calcmode="lin" valueType="num">
                                      <p:cBhvr additive="base">
                                        <p:cTn id="28" dur="10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15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1000" fill="hold"/>
                                        <p:tgtEl>
                                          <p:spTgt spid="14"/>
                                        </p:tgtEl>
                                        <p:attrNameLst>
                                          <p:attrName>ppt_x</p:attrName>
                                        </p:attrNameLst>
                                      </p:cBhvr>
                                      <p:tavLst>
                                        <p:tav tm="0">
                                          <p:val>
                                            <p:strVal val="0-#ppt_w/2"/>
                                          </p:val>
                                        </p:tav>
                                        <p:tav tm="100000">
                                          <p:val>
                                            <p:strVal val="#ppt_x"/>
                                          </p:val>
                                        </p:tav>
                                      </p:tavLst>
                                    </p:anim>
                                    <p:anim calcmode="lin" valueType="num">
                                      <p:cBhvr additive="base">
                                        <p:cTn id="32"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P spid="13" grpId="0"/>
      <p:bldP spid="1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ople-centric IT</a:t>
            </a:r>
            <a:endParaRPr lang="en-US" dirty="0"/>
          </a:p>
        </p:txBody>
      </p:sp>
      <p:sp>
        <p:nvSpPr>
          <p:cNvPr id="4" name="Rectangle 3"/>
          <p:cNvSpPr/>
          <p:nvPr/>
        </p:nvSpPr>
        <p:spPr bwMode="auto">
          <a:xfrm>
            <a:off x="274320" y="1325496"/>
            <a:ext cx="11731399" cy="49485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31" name="Group 130"/>
          <p:cNvGrpSpPr/>
          <p:nvPr/>
        </p:nvGrpSpPr>
        <p:grpSpPr>
          <a:xfrm>
            <a:off x="4384618" y="1578811"/>
            <a:ext cx="1887864" cy="2747797"/>
            <a:chOff x="8592930" y="123553"/>
            <a:chExt cx="1887864" cy="2747797"/>
          </a:xfrm>
        </p:grpSpPr>
        <p:grpSp>
          <p:nvGrpSpPr>
            <p:cNvPr id="132" name="Group 131"/>
            <p:cNvGrpSpPr/>
            <p:nvPr/>
          </p:nvGrpSpPr>
          <p:grpSpPr>
            <a:xfrm>
              <a:off x="8592930" y="123553"/>
              <a:ext cx="1887864" cy="2747797"/>
              <a:chOff x="4373063" y="1580816"/>
              <a:chExt cx="1887864" cy="2747797"/>
            </a:xfrm>
          </p:grpSpPr>
          <p:sp>
            <p:nvSpPr>
              <p:cNvPr id="143" name="Text Placeholder 12"/>
              <p:cNvSpPr txBox="1">
                <a:spLocks/>
              </p:cNvSpPr>
              <p:nvPr/>
            </p:nvSpPr>
            <p:spPr>
              <a:xfrm>
                <a:off x="4853656" y="3885246"/>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000" b="1" i="0" u="none" strike="noStrike" kern="1200" cap="none" spc="0" normalizeH="0" baseline="0" noProof="0" dirty="0">
                    <a:ln>
                      <a:noFill/>
                    </a:ln>
                    <a:solidFill>
                      <a:srgbClr val="FF8C00"/>
                    </a:solidFill>
                    <a:effectLst/>
                    <a:uLnTx/>
                    <a:uFillTx/>
                    <a:latin typeface="Segoe UI"/>
                  </a:rPr>
                  <a:t>Apps</a:t>
                </a:r>
              </a:p>
            </p:txBody>
          </p:sp>
          <p:sp>
            <p:nvSpPr>
              <p:cNvPr id="144" name="Rectangle 143"/>
              <p:cNvSpPr/>
              <p:nvPr/>
            </p:nvSpPr>
            <p:spPr bwMode="auto">
              <a:xfrm>
                <a:off x="4373063" y="1580816"/>
                <a:ext cx="1887864" cy="2747797"/>
              </a:xfrm>
              <a:prstGeom prst="rect">
                <a:avLst/>
              </a:prstGeom>
              <a:noFill/>
              <a:ln w="10795" cap="flat" cmpd="sng" algn="ctr">
                <a:solidFill>
                  <a:srgbClr val="FF8C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45" name="Group 144"/>
              <p:cNvGrpSpPr/>
              <p:nvPr/>
            </p:nvGrpSpPr>
            <p:grpSpPr>
              <a:xfrm>
                <a:off x="4581414" y="1673767"/>
                <a:ext cx="1491445" cy="2236132"/>
                <a:chOff x="6649918" y="1518736"/>
                <a:chExt cx="1632914" cy="2448236"/>
              </a:xfrm>
            </p:grpSpPr>
            <p:sp>
              <p:nvSpPr>
                <p:cNvPr id="146"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rgbClr val="FF8C00"/>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7"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F8C00"/>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8"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rgbClr val="FF8C00"/>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9"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rgbClr val="FF8C00"/>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50"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grpSp>
        </p:grpSp>
        <p:grpSp>
          <p:nvGrpSpPr>
            <p:cNvPr id="133" name="Group 29"/>
            <p:cNvGrpSpPr>
              <a:grpSpLocks noChangeAspect="1"/>
            </p:cNvGrpSpPr>
            <p:nvPr/>
          </p:nvGrpSpPr>
          <p:grpSpPr bwMode="auto">
            <a:xfrm>
              <a:off x="8804898" y="979278"/>
              <a:ext cx="701892" cy="703330"/>
              <a:chOff x="5541" y="601"/>
              <a:chExt cx="488" cy="489"/>
            </a:xfrm>
            <a:solidFill>
              <a:srgbClr val="FF8C00"/>
            </a:solidFill>
          </p:grpSpPr>
          <p:sp>
            <p:nvSpPr>
              <p:cNvPr id="134"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5"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6"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7"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8"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9"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0"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1"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2"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grp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grpSp>
        <p:nvGrpSpPr>
          <p:cNvPr id="151" name="Group 150"/>
          <p:cNvGrpSpPr/>
          <p:nvPr/>
        </p:nvGrpSpPr>
        <p:grpSpPr>
          <a:xfrm>
            <a:off x="452494" y="1580816"/>
            <a:ext cx="1887864" cy="2747797"/>
            <a:chOff x="452494" y="1580816"/>
            <a:chExt cx="1887864" cy="2747797"/>
          </a:xfrm>
        </p:grpSpPr>
        <p:sp>
          <p:nvSpPr>
            <p:cNvPr id="152" name="Text Placeholder 12"/>
            <p:cNvSpPr txBox="1">
              <a:spLocks/>
            </p:cNvSpPr>
            <p:nvPr/>
          </p:nvSpPr>
          <p:spPr>
            <a:xfrm>
              <a:off x="839756" y="3928041"/>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000" b="1" i="0" u="none" strike="noStrike" kern="1200" cap="none" spc="0" normalizeH="0" baseline="0" noProof="0" dirty="0">
                  <a:ln>
                    <a:noFill/>
                  </a:ln>
                  <a:solidFill>
                    <a:srgbClr val="00188F"/>
                  </a:solidFill>
                  <a:effectLst/>
                  <a:uLnTx/>
                  <a:uFillTx/>
                  <a:latin typeface="Segoe UI" pitchFamily="34" charset="0"/>
                  <a:ea typeface="Segoe UI" pitchFamily="34" charset="0"/>
                  <a:cs typeface="Segoe UI" pitchFamily="34" charset="0"/>
                </a:rPr>
                <a:t>Users</a:t>
              </a:r>
            </a:p>
          </p:txBody>
        </p:sp>
        <p:sp>
          <p:nvSpPr>
            <p:cNvPr id="153" name="Rectangle 152"/>
            <p:cNvSpPr/>
            <p:nvPr/>
          </p:nvSpPr>
          <p:spPr bwMode="auto">
            <a:xfrm>
              <a:off x="452494" y="1580816"/>
              <a:ext cx="1887864" cy="2747797"/>
            </a:xfrm>
            <a:prstGeom prst="rect">
              <a:avLst/>
            </a:prstGeom>
            <a:noFill/>
            <a:ln w="10795" cap="flat" cmpd="sng" algn="ctr">
              <a:solidFill>
                <a:srgbClr val="00187B"/>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54" name="Group 13"/>
            <p:cNvGrpSpPr>
              <a:grpSpLocks noChangeAspect="1"/>
            </p:cNvGrpSpPr>
            <p:nvPr/>
          </p:nvGrpSpPr>
          <p:grpSpPr bwMode="auto">
            <a:xfrm>
              <a:off x="657225" y="1822450"/>
              <a:ext cx="1330324" cy="1971675"/>
              <a:chOff x="414" y="1148"/>
              <a:chExt cx="838" cy="1242"/>
            </a:xfrm>
          </p:grpSpPr>
          <p:sp>
            <p:nvSpPr>
              <p:cNvPr id="155" name="AutoShape 12"/>
              <p:cNvSpPr>
                <a:spLocks noChangeAspect="1" noChangeArrowheads="1" noTextEdit="1"/>
              </p:cNvSpPr>
              <p:nvPr/>
            </p:nvSpPr>
            <p:spPr bwMode="auto">
              <a:xfrm>
                <a:off x="429" y="1148"/>
                <a:ext cx="823" cy="1242"/>
              </a:xfrm>
              <a:prstGeom prst="rect">
                <a:avLst/>
              </a:prstGeom>
              <a:blipFill dpi="0" rotWithShape="1">
                <a:blip r:embed="rId3">
                  <a:alphaModFix amt="9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56" name="Freeform 14"/>
              <p:cNvSpPr>
                <a:spLocks noEditPoints="1"/>
              </p:cNvSpPr>
              <p:nvPr/>
            </p:nvSpPr>
            <p:spPr bwMode="auto">
              <a:xfrm>
                <a:off x="414" y="1148"/>
                <a:ext cx="828" cy="1241"/>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001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sp>
        <p:nvSpPr>
          <p:cNvPr id="157" name="Text Placeholder 12"/>
          <p:cNvSpPr txBox="1">
            <a:spLocks/>
          </p:cNvSpPr>
          <p:nvPr/>
        </p:nvSpPr>
        <p:spPr>
          <a:xfrm>
            <a:off x="8915400" y="1620744"/>
            <a:ext cx="2917832" cy="127881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spc="0" dirty="0" smtClean="0">
                <a:solidFill>
                  <a:srgbClr val="969696">
                    <a:lumMod val="50000"/>
                  </a:srgbClr>
                </a:solidFill>
                <a:latin typeface="Segoe UI" pitchFamily="34" charset="0"/>
                <a:ea typeface="Segoe UI" pitchFamily="34" charset="0"/>
                <a:cs typeface="Segoe UI" pitchFamily="34" charset="0"/>
              </a:rPr>
              <a:t>Empower users</a:t>
            </a:r>
            <a:endParaRPr lang="en-US" sz="2000" b="1" spc="0" dirty="0">
              <a:solidFill>
                <a:srgbClr val="969696">
                  <a:lumMod val="50000"/>
                </a:srgbClr>
              </a:solidFill>
              <a:latin typeface="Segoe UI" pitchFamily="34" charset="0"/>
              <a:ea typeface="Segoe UI" pitchFamily="34" charset="0"/>
              <a:cs typeface="Segoe UI" pitchFamily="34" charset="0"/>
            </a:endParaRPr>
          </a:p>
          <a:p>
            <a:r>
              <a:rPr lang="en-US" sz="1600" spc="0" dirty="0" smtClean="0">
                <a:solidFill>
                  <a:srgbClr val="969696">
                    <a:lumMod val="50000"/>
                  </a:srgbClr>
                </a:solidFill>
                <a:latin typeface="Segoe UI"/>
                <a:ea typeface="Segoe UI" pitchFamily="34" charset="0"/>
                <a:cs typeface="Segoe UI" pitchFamily="34" charset="0"/>
              </a:rPr>
              <a:t>Allow </a:t>
            </a:r>
            <a:r>
              <a:rPr lang="en-US" sz="1600" spc="0" dirty="0">
                <a:solidFill>
                  <a:srgbClr val="969696">
                    <a:lumMod val="50000"/>
                  </a:srgbClr>
                </a:solidFill>
                <a:latin typeface="Segoe UI"/>
                <a:ea typeface="Segoe UI" pitchFamily="34" charset="0"/>
                <a:cs typeface="Segoe UI" pitchFamily="34" charset="0"/>
              </a:rPr>
              <a:t>users to work on the </a:t>
            </a:r>
            <a:r>
              <a:rPr lang="en-US" sz="1600" spc="0" dirty="0" smtClean="0">
                <a:solidFill>
                  <a:srgbClr val="969696">
                    <a:lumMod val="50000"/>
                  </a:srgbClr>
                </a:solidFill>
                <a:latin typeface="Segoe UI"/>
                <a:ea typeface="Segoe UI" pitchFamily="34" charset="0"/>
                <a:cs typeface="Segoe UI" pitchFamily="34" charset="0"/>
              </a:rPr>
              <a:t>devices </a:t>
            </a:r>
            <a:r>
              <a:rPr lang="en-US" sz="1600" spc="0" dirty="0">
                <a:solidFill>
                  <a:srgbClr val="969696">
                    <a:lumMod val="50000"/>
                  </a:srgbClr>
                </a:solidFill>
                <a:latin typeface="Segoe UI"/>
                <a:ea typeface="Segoe UI" pitchFamily="34" charset="0"/>
                <a:cs typeface="Segoe UI" pitchFamily="34" charset="0"/>
              </a:rPr>
              <a:t>of </a:t>
            </a:r>
            <a:r>
              <a:rPr lang="en-US" sz="1600" spc="0" dirty="0" smtClean="0">
                <a:solidFill>
                  <a:srgbClr val="969696">
                    <a:lumMod val="50000"/>
                  </a:srgbClr>
                </a:solidFill>
                <a:latin typeface="Segoe UI"/>
                <a:ea typeface="Segoe UI" pitchFamily="34" charset="0"/>
                <a:cs typeface="Segoe UI" pitchFamily="34" charset="0"/>
              </a:rPr>
              <a:t>their choice and provide </a:t>
            </a:r>
            <a:r>
              <a:rPr lang="en-US" sz="1600" spc="0" dirty="0">
                <a:solidFill>
                  <a:srgbClr val="969696">
                    <a:lumMod val="50000"/>
                  </a:srgbClr>
                </a:solidFill>
                <a:latin typeface="Segoe UI"/>
                <a:ea typeface="Segoe UI" pitchFamily="34" charset="0"/>
                <a:cs typeface="Segoe UI" pitchFamily="34" charset="0"/>
              </a:rPr>
              <a:t>consistent access to corporate </a:t>
            </a:r>
            <a:r>
              <a:rPr lang="en-US" sz="1600" spc="0" dirty="0" smtClean="0">
                <a:solidFill>
                  <a:srgbClr val="969696">
                    <a:lumMod val="50000"/>
                  </a:srgbClr>
                </a:solidFill>
                <a:latin typeface="Segoe UI"/>
                <a:ea typeface="Segoe UI" pitchFamily="34" charset="0"/>
                <a:cs typeface="Segoe UI" pitchFamily="34" charset="0"/>
              </a:rPr>
              <a:t>resources.</a:t>
            </a:r>
            <a:endParaRPr lang="en-US" sz="1600" spc="0" dirty="0">
              <a:solidFill>
                <a:srgbClr val="969696">
                  <a:lumMod val="50000"/>
                </a:srgbClr>
              </a:solidFill>
              <a:latin typeface="Segoe UI"/>
              <a:ea typeface="Segoe UI" pitchFamily="34" charset="0"/>
              <a:cs typeface="Segoe UI" pitchFamily="34" charset="0"/>
            </a:endParaRPr>
          </a:p>
        </p:txBody>
      </p:sp>
      <p:sp>
        <p:nvSpPr>
          <p:cNvPr id="158" name="Text Placeholder 12"/>
          <p:cNvSpPr txBox="1">
            <a:spLocks/>
          </p:cNvSpPr>
          <p:nvPr/>
        </p:nvSpPr>
        <p:spPr>
          <a:xfrm>
            <a:off x="8915400" y="3318665"/>
            <a:ext cx="2918668" cy="109568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2000" b="1" spc="0" dirty="0" smtClean="0">
                <a:solidFill>
                  <a:srgbClr val="969696">
                    <a:lumMod val="50000"/>
                  </a:srgbClr>
                </a:solidFill>
                <a:latin typeface="Segoe UI" pitchFamily="34" charset="0"/>
                <a:ea typeface="Segoe UI" pitchFamily="34" charset="0"/>
                <a:cs typeface="Segoe UI" pitchFamily="34" charset="0"/>
              </a:rPr>
              <a:t>Unify your environment</a:t>
            </a:r>
          </a:p>
          <a:p>
            <a:pPr defTabSz="1243295">
              <a:spcAft>
                <a:spcPts val="1224"/>
              </a:spcAft>
              <a:defRPr/>
            </a:pPr>
            <a:r>
              <a:rPr lang="en-US" sz="1600" spc="0" dirty="0">
                <a:solidFill>
                  <a:srgbClr val="969696">
                    <a:lumMod val="50000"/>
                  </a:srgbClr>
                </a:solidFill>
                <a:latin typeface="Segoe UI"/>
                <a:ea typeface="Segoe UI" pitchFamily="34" charset="0"/>
                <a:cs typeface="Segoe UI" pitchFamily="34" charset="0"/>
              </a:rPr>
              <a:t>Deliver </a:t>
            </a:r>
            <a:r>
              <a:rPr lang="en-US" sz="1600" spc="0" dirty="0" smtClean="0">
                <a:solidFill>
                  <a:srgbClr val="969696">
                    <a:lumMod val="50000"/>
                  </a:srgbClr>
                </a:solidFill>
                <a:latin typeface="Segoe UI"/>
                <a:ea typeface="Segoe UI" pitchFamily="34" charset="0"/>
                <a:cs typeface="Segoe UI" pitchFamily="34" charset="0"/>
              </a:rPr>
              <a:t>a unified application </a:t>
            </a:r>
            <a:r>
              <a:rPr lang="en-US" sz="1600" spc="0" dirty="0">
                <a:solidFill>
                  <a:srgbClr val="969696">
                    <a:lumMod val="50000"/>
                  </a:srgbClr>
                </a:solidFill>
                <a:latin typeface="Segoe UI"/>
                <a:ea typeface="Segoe UI" pitchFamily="34" charset="0"/>
                <a:cs typeface="Segoe UI" pitchFamily="34" charset="0"/>
              </a:rPr>
              <a:t>and device </a:t>
            </a:r>
            <a:r>
              <a:rPr lang="en-US" sz="1600" spc="0" dirty="0" smtClean="0">
                <a:solidFill>
                  <a:srgbClr val="969696">
                    <a:lumMod val="50000"/>
                  </a:srgbClr>
                </a:solidFill>
                <a:latin typeface="Segoe UI"/>
                <a:ea typeface="Segoe UI" pitchFamily="34" charset="0"/>
                <a:cs typeface="Segoe UI" pitchFamily="34" charset="0"/>
              </a:rPr>
              <a:t>management</a:t>
            </a:r>
            <a:r>
              <a:rPr lang="en-US" sz="1600" spc="0" dirty="0" smtClean="0">
                <a:solidFill>
                  <a:srgbClr val="00188F"/>
                </a:solidFill>
                <a:latin typeface="Segoe UI"/>
                <a:ea typeface="Segoe UI" pitchFamily="34" charset="0"/>
                <a:cs typeface="Segoe UI" pitchFamily="34" charset="0"/>
              </a:rPr>
              <a:t> </a:t>
            </a:r>
            <a:r>
              <a:rPr lang="en-US" sz="1600" spc="0" dirty="0" smtClean="0">
                <a:solidFill>
                  <a:srgbClr val="969696">
                    <a:lumMod val="50000"/>
                  </a:srgbClr>
                </a:solidFill>
                <a:latin typeface="Segoe UI"/>
                <a:ea typeface="Segoe UI" pitchFamily="34" charset="0"/>
                <a:cs typeface="Segoe UI" pitchFamily="34" charset="0"/>
              </a:rPr>
              <a:t>on-premises and in the cloud.</a:t>
            </a:r>
          </a:p>
        </p:txBody>
      </p:sp>
      <p:sp>
        <p:nvSpPr>
          <p:cNvPr id="159" name="Text Placeholder 12"/>
          <p:cNvSpPr txBox="1">
            <a:spLocks/>
          </p:cNvSpPr>
          <p:nvPr/>
        </p:nvSpPr>
        <p:spPr>
          <a:xfrm>
            <a:off x="8915400" y="4833459"/>
            <a:ext cx="2918668" cy="87408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2000" b="1" spc="0" dirty="0" smtClean="0">
                <a:solidFill>
                  <a:srgbClr val="969696">
                    <a:lumMod val="50000"/>
                  </a:srgbClr>
                </a:solidFill>
                <a:latin typeface="Segoe UI"/>
              </a:rPr>
              <a:t>Protect your </a:t>
            </a:r>
            <a:r>
              <a:rPr lang="en-US" sz="2000" b="1" spc="0" dirty="0">
                <a:solidFill>
                  <a:srgbClr val="969696">
                    <a:lumMod val="50000"/>
                  </a:srgbClr>
                </a:solidFill>
                <a:latin typeface="Segoe UI"/>
              </a:rPr>
              <a:t>data</a:t>
            </a:r>
          </a:p>
          <a:p>
            <a:pPr defTabSz="1243295">
              <a:spcAft>
                <a:spcPts val="1224"/>
              </a:spcAft>
              <a:defRPr/>
            </a:pPr>
            <a:r>
              <a:rPr lang="en-US" sz="1600" spc="0" dirty="0" smtClean="0">
                <a:solidFill>
                  <a:srgbClr val="969696">
                    <a:lumMod val="50000"/>
                  </a:srgbClr>
                </a:solidFill>
                <a:latin typeface="Segoe UI"/>
              </a:rPr>
              <a:t>Help protect corporate information and manage risk.</a:t>
            </a:r>
            <a:endParaRPr lang="en-US" sz="1600" spc="0" dirty="0">
              <a:solidFill>
                <a:srgbClr val="969696">
                  <a:lumMod val="50000"/>
                </a:srgbClr>
              </a:solidFill>
              <a:latin typeface="Segoe UI"/>
            </a:endParaRPr>
          </a:p>
        </p:txBody>
      </p:sp>
      <p:sp>
        <p:nvSpPr>
          <p:cNvPr id="160" name="Freeform 12"/>
          <p:cNvSpPr>
            <a:spLocks noEditPoints="1"/>
          </p:cNvSpPr>
          <p:nvPr/>
        </p:nvSpPr>
        <p:spPr bwMode="auto">
          <a:xfrm>
            <a:off x="2907569" y="4480560"/>
            <a:ext cx="2863085" cy="1007135"/>
          </a:xfrm>
          <a:custGeom>
            <a:avLst/>
            <a:gdLst>
              <a:gd name="T0" fmla="*/ 341 w 1606"/>
              <a:gd name="T1" fmla="*/ 302 h 444"/>
              <a:gd name="T2" fmla="*/ 360 w 1606"/>
              <a:gd name="T3" fmla="*/ 276 h 444"/>
              <a:gd name="T4" fmla="*/ 388 w 1606"/>
              <a:gd name="T5" fmla="*/ 116 h 444"/>
              <a:gd name="T6" fmla="*/ 499 w 1606"/>
              <a:gd name="T7" fmla="*/ 50 h 444"/>
              <a:gd name="T8" fmla="*/ 263 w 1606"/>
              <a:gd name="T9" fmla="*/ 91 h 444"/>
              <a:gd name="T10" fmla="*/ 98 w 1606"/>
              <a:gd name="T11" fmla="*/ 187 h 444"/>
              <a:gd name="T12" fmla="*/ 61 w 1606"/>
              <a:gd name="T13" fmla="*/ 339 h 444"/>
              <a:gd name="T14" fmla="*/ 134 w 1606"/>
              <a:gd name="T15" fmla="*/ 365 h 444"/>
              <a:gd name="T16" fmla="*/ 405 w 1606"/>
              <a:gd name="T17" fmla="*/ 411 h 444"/>
              <a:gd name="T18" fmla="*/ 340 w 1606"/>
              <a:gd name="T19" fmla="*/ 323 h 444"/>
              <a:gd name="T20" fmla="*/ 463 w 1606"/>
              <a:gd name="T21" fmla="*/ 158 h 444"/>
              <a:gd name="T22" fmla="*/ 519 w 1606"/>
              <a:gd name="T23" fmla="*/ 168 h 444"/>
              <a:gd name="T24" fmla="*/ 519 w 1606"/>
              <a:gd name="T25" fmla="*/ 214 h 444"/>
              <a:gd name="T26" fmla="*/ 1500 w 1606"/>
              <a:gd name="T27" fmla="*/ 174 h 444"/>
              <a:gd name="T28" fmla="*/ 1216 w 1606"/>
              <a:gd name="T29" fmla="*/ 92 h 444"/>
              <a:gd name="T30" fmla="*/ 1046 w 1606"/>
              <a:gd name="T31" fmla="*/ 147 h 444"/>
              <a:gd name="T32" fmla="*/ 821 w 1606"/>
              <a:gd name="T33" fmla="*/ 110 h 444"/>
              <a:gd name="T34" fmla="*/ 408 w 1606"/>
              <a:gd name="T35" fmla="*/ 290 h 444"/>
              <a:gd name="T36" fmla="*/ 600 w 1606"/>
              <a:gd name="T37" fmla="*/ 394 h 444"/>
              <a:gd name="T38" fmla="*/ 823 w 1606"/>
              <a:gd name="T39" fmla="*/ 287 h 444"/>
              <a:gd name="T40" fmla="*/ 1014 w 1606"/>
              <a:gd name="T41" fmla="*/ 340 h 444"/>
              <a:gd name="T42" fmla="*/ 1087 w 1606"/>
              <a:gd name="T43" fmla="*/ 366 h 444"/>
              <a:gd name="T44" fmla="*/ 1358 w 1606"/>
              <a:gd name="T45" fmla="*/ 412 h 444"/>
              <a:gd name="T46" fmla="*/ 1502 w 1606"/>
              <a:gd name="T47" fmla="*/ 320 h 444"/>
              <a:gd name="T48" fmla="*/ 1528 w 1606"/>
              <a:gd name="T49" fmla="*/ 169 h 444"/>
              <a:gd name="T50" fmla="*/ 448 w 1606"/>
              <a:gd name="T51" fmla="*/ 239 h 444"/>
              <a:gd name="T52" fmla="*/ 448 w 1606"/>
              <a:gd name="T53" fmla="*/ 219 h 444"/>
              <a:gd name="T54" fmla="*/ 416 w 1606"/>
              <a:gd name="T55" fmla="*/ 171 h 444"/>
              <a:gd name="T56" fmla="*/ 417 w 1606"/>
              <a:gd name="T57" fmla="*/ 139 h 444"/>
              <a:gd name="T58" fmla="*/ 625 w 1606"/>
              <a:gd name="T59" fmla="*/ 58 h 444"/>
              <a:gd name="T60" fmla="*/ 625 w 1606"/>
              <a:gd name="T61" fmla="*/ 117 h 444"/>
              <a:gd name="T62" fmla="*/ 539 w 1606"/>
              <a:gd name="T63" fmla="*/ 212 h 444"/>
              <a:gd name="T64" fmla="*/ 539 w 1606"/>
              <a:gd name="T65" fmla="*/ 239 h 444"/>
              <a:gd name="T66" fmla="*/ 625 w 1606"/>
              <a:gd name="T67" fmla="*/ 339 h 444"/>
              <a:gd name="T68" fmla="*/ 462 w 1606"/>
              <a:gd name="T69" fmla="*/ 239 h 444"/>
              <a:gd name="T70" fmla="*/ 414 w 1606"/>
              <a:gd name="T71" fmla="*/ 273 h 444"/>
              <a:gd name="T72" fmla="*/ 471 w 1606"/>
              <a:gd name="T73" fmla="*/ 301 h 444"/>
              <a:gd name="T74" fmla="*/ 515 w 1606"/>
              <a:gd name="T75" fmla="*/ 249 h 444"/>
              <a:gd name="T76" fmla="*/ 498 w 1606"/>
              <a:gd name="T77" fmla="*/ 305 h 444"/>
              <a:gd name="T78" fmla="*/ 599 w 1606"/>
              <a:gd name="T79" fmla="*/ 379 h 444"/>
              <a:gd name="T80" fmla="*/ 415 w 1606"/>
              <a:gd name="T81" fmla="*/ 294 h 444"/>
              <a:gd name="T82" fmla="*/ 726 w 1606"/>
              <a:gd name="T83" fmla="*/ 342 h 444"/>
              <a:gd name="T84" fmla="*/ 1137 w 1606"/>
              <a:gd name="T85" fmla="*/ 256 h 444"/>
              <a:gd name="T86" fmla="*/ 771 w 1606"/>
              <a:gd name="T87" fmla="*/ 256 h 444"/>
              <a:gd name="T88" fmla="*/ 771 w 1606"/>
              <a:gd name="T89" fmla="*/ 127 h 444"/>
              <a:gd name="T90" fmla="*/ 1114 w 1606"/>
              <a:gd name="T91" fmla="*/ 168 h 444"/>
              <a:gd name="T92" fmla="*/ 1222 w 1606"/>
              <a:gd name="T93" fmla="*/ 2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6" h="444">
                <a:moveTo>
                  <a:pt x="340" y="323"/>
                </a:moveTo>
                <a:cubicBezTo>
                  <a:pt x="341" y="307"/>
                  <a:pt x="341" y="307"/>
                  <a:pt x="341" y="307"/>
                </a:cubicBezTo>
                <a:cubicBezTo>
                  <a:pt x="341" y="302"/>
                  <a:pt x="341" y="302"/>
                  <a:pt x="341" y="302"/>
                </a:cubicBezTo>
                <a:cubicBezTo>
                  <a:pt x="341" y="298"/>
                  <a:pt x="341" y="298"/>
                  <a:pt x="341" y="298"/>
                </a:cubicBezTo>
                <a:cubicBezTo>
                  <a:pt x="342" y="280"/>
                  <a:pt x="342" y="280"/>
                  <a:pt x="342" y="280"/>
                </a:cubicBezTo>
                <a:cubicBezTo>
                  <a:pt x="360" y="276"/>
                  <a:pt x="360" y="276"/>
                  <a:pt x="360" y="276"/>
                </a:cubicBezTo>
                <a:cubicBezTo>
                  <a:pt x="368" y="275"/>
                  <a:pt x="377" y="273"/>
                  <a:pt x="385" y="271"/>
                </a:cubicBezTo>
                <a:cubicBezTo>
                  <a:pt x="385" y="254"/>
                  <a:pt x="386" y="226"/>
                  <a:pt x="386" y="201"/>
                </a:cubicBezTo>
                <a:cubicBezTo>
                  <a:pt x="388" y="137"/>
                  <a:pt x="388" y="117"/>
                  <a:pt x="388" y="116"/>
                </a:cubicBezTo>
                <a:cubicBezTo>
                  <a:pt x="389" y="102"/>
                  <a:pt x="389" y="102"/>
                  <a:pt x="389" y="102"/>
                </a:cubicBezTo>
                <a:cubicBezTo>
                  <a:pt x="401" y="96"/>
                  <a:pt x="401" y="96"/>
                  <a:pt x="401" y="96"/>
                </a:cubicBezTo>
                <a:cubicBezTo>
                  <a:pt x="499" y="50"/>
                  <a:pt x="499" y="50"/>
                  <a:pt x="499" y="50"/>
                </a:cubicBezTo>
                <a:cubicBezTo>
                  <a:pt x="466" y="20"/>
                  <a:pt x="420" y="4"/>
                  <a:pt x="373" y="12"/>
                </a:cubicBezTo>
                <a:cubicBezTo>
                  <a:pt x="324" y="20"/>
                  <a:pt x="284" y="50"/>
                  <a:pt x="263" y="91"/>
                </a:cubicBezTo>
                <a:cubicBezTo>
                  <a:pt x="263" y="91"/>
                  <a:pt x="263" y="91"/>
                  <a:pt x="263" y="91"/>
                </a:cubicBezTo>
                <a:cubicBezTo>
                  <a:pt x="247" y="72"/>
                  <a:pt x="224" y="59"/>
                  <a:pt x="197" y="57"/>
                </a:cubicBezTo>
                <a:cubicBezTo>
                  <a:pt x="144" y="53"/>
                  <a:pt x="97" y="92"/>
                  <a:pt x="92" y="146"/>
                </a:cubicBezTo>
                <a:cubicBezTo>
                  <a:pt x="91" y="160"/>
                  <a:pt x="93" y="174"/>
                  <a:pt x="98" y="187"/>
                </a:cubicBezTo>
                <a:cubicBezTo>
                  <a:pt x="98" y="187"/>
                  <a:pt x="98" y="187"/>
                  <a:pt x="98" y="187"/>
                </a:cubicBezTo>
                <a:cubicBezTo>
                  <a:pt x="63" y="183"/>
                  <a:pt x="28" y="203"/>
                  <a:pt x="15" y="237"/>
                </a:cubicBezTo>
                <a:cubicBezTo>
                  <a:pt x="0" y="278"/>
                  <a:pt x="20" y="324"/>
                  <a:pt x="61" y="339"/>
                </a:cubicBezTo>
                <a:cubicBezTo>
                  <a:pt x="82" y="348"/>
                  <a:pt x="105" y="346"/>
                  <a:pt x="124" y="337"/>
                </a:cubicBezTo>
                <a:cubicBezTo>
                  <a:pt x="124" y="336"/>
                  <a:pt x="124" y="336"/>
                  <a:pt x="124" y="336"/>
                </a:cubicBezTo>
                <a:cubicBezTo>
                  <a:pt x="126" y="346"/>
                  <a:pt x="129" y="356"/>
                  <a:pt x="134" y="365"/>
                </a:cubicBezTo>
                <a:cubicBezTo>
                  <a:pt x="161" y="420"/>
                  <a:pt x="229" y="443"/>
                  <a:pt x="284" y="415"/>
                </a:cubicBezTo>
                <a:cubicBezTo>
                  <a:pt x="300" y="407"/>
                  <a:pt x="313" y="396"/>
                  <a:pt x="323" y="383"/>
                </a:cubicBezTo>
                <a:cubicBezTo>
                  <a:pt x="341" y="409"/>
                  <a:pt x="374" y="421"/>
                  <a:pt x="405" y="411"/>
                </a:cubicBezTo>
                <a:cubicBezTo>
                  <a:pt x="428" y="404"/>
                  <a:pt x="445" y="386"/>
                  <a:pt x="452" y="365"/>
                </a:cubicBezTo>
                <a:cubicBezTo>
                  <a:pt x="420" y="353"/>
                  <a:pt x="388" y="341"/>
                  <a:pt x="356" y="329"/>
                </a:cubicBezTo>
                <a:lnTo>
                  <a:pt x="340" y="323"/>
                </a:lnTo>
                <a:close/>
                <a:moveTo>
                  <a:pt x="519" y="99"/>
                </a:moveTo>
                <a:cubicBezTo>
                  <a:pt x="464" y="121"/>
                  <a:pt x="464" y="121"/>
                  <a:pt x="464" y="121"/>
                </a:cubicBezTo>
                <a:cubicBezTo>
                  <a:pt x="463" y="158"/>
                  <a:pt x="463" y="158"/>
                  <a:pt x="463" y="158"/>
                </a:cubicBezTo>
                <a:cubicBezTo>
                  <a:pt x="519" y="144"/>
                  <a:pt x="519" y="144"/>
                  <a:pt x="519" y="144"/>
                </a:cubicBezTo>
                <a:lnTo>
                  <a:pt x="519" y="99"/>
                </a:lnTo>
                <a:close/>
                <a:moveTo>
                  <a:pt x="519" y="168"/>
                </a:moveTo>
                <a:cubicBezTo>
                  <a:pt x="463" y="180"/>
                  <a:pt x="463" y="180"/>
                  <a:pt x="463" y="180"/>
                </a:cubicBezTo>
                <a:cubicBezTo>
                  <a:pt x="463" y="218"/>
                  <a:pt x="463" y="218"/>
                  <a:pt x="463" y="218"/>
                </a:cubicBezTo>
                <a:cubicBezTo>
                  <a:pt x="519" y="214"/>
                  <a:pt x="519" y="214"/>
                  <a:pt x="519" y="214"/>
                </a:cubicBezTo>
                <a:lnTo>
                  <a:pt x="519" y="168"/>
                </a:lnTo>
                <a:close/>
                <a:moveTo>
                  <a:pt x="1528" y="169"/>
                </a:moveTo>
                <a:cubicBezTo>
                  <a:pt x="1518" y="169"/>
                  <a:pt x="1509" y="170"/>
                  <a:pt x="1500" y="174"/>
                </a:cubicBezTo>
                <a:cubicBezTo>
                  <a:pt x="1501" y="162"/>
                  <a:pt x="1501" y="150"/>
                  <a:pt x="1499" y="138"/>
                </a:cubicBezTo>
                <a:cubicBezTo>
                  <a:pt x="1486" y="56"/>
                  <a:pt x="1409" y="0"/>
                  <a:pt x="1326" y="13"/>
                </a:cubicBezTo>
                <a:cubicBezTo>
                  <a:pt x="1277" y="21"/>
                  <a:pt x="1238" y="51"/>
                  <a:pt x="1216" y="92"/>
                </a:cubicBezTo>
                <a:cubicBezTo>
                  <a:pt x="1216" y="92"/>
                  <a:pt x="1216" y="92"/>
                  <a:pt x="1216" y="92"/>
                </a:cubicBezTo>
                <a:cubicBezTo>
                  <a:pt x="1200" y="73"/>
                  <a:pt x="1177" y="60"/>
                  <a:pt x="1151" y="58"/>
                </a:cubicBezTo>
                <a:cubicBezTo>
                  <a:pt x="1097" y="54"/>
                  <a:pt x="1050" y="93"/>
                  <a:pt x="1046" y="147"/>
                </a:cubicBezTo>
                <a:cubicBezTo>
                  <a:pt x="1046" y="149"/>
                  <a:pt x="1046" y="152"/>
                  <a:pt x="1046" y="155"/>
                </a:cubicBezTo>
                <a:cubicBezTo>
                  <a:pt x="821" y="155"/>
                  <a:pt x="821" y="155"/>
                  <a:pt x="821" y="155"/>
                </a:cubicBezTo>
                <a:cubicBezTo>
                  <a:pt x="821" y="135"/>
                  <a:pt x="821" y="118"/>
                  <a:pt x="821" y="110"/>
                </a:cubicBezTo>
                <a:cubicBezTo>
                  <a:pt x="625" y="15"/>
                  <a:pt x="625" y="15"/>
                  <a:pt x="625" y="15"/>
                </a:cubicBezTo>
                <a:cubicBezTo>
                  <a:pt x="411" y="117"/>
                  <a:pt x="411" y="117"/>
                  <a:pt x="411" y="117"/>
                </a:cubicBezTo>
                <a:cubicBezTo>
                  <a:pt x="411" y="120"/>
                  <a:pt x="408" y="287"/>
                  <a:pt x="408" y="290"/>
                </a:cubicBezTo>
                <a:cubicBezTo>
                  <a:pt x="393" y="293"/>
                  <a:pt x="379" y="296"/>
                  <a:pt x="364" y="299"/>
                </a:cubicBezTo>
                <a:cubicBezTo>
                  <a:pt x="364" y="302"/>
                  <a:pt x="364" y="305"/>
                  <a:pt x="364" y="308"/>
                </a:cubicBezTo>
                <a:cubicBezTo>
                  <a:pt x="442" y="337"/>
                  <a:pt x="518" y="365"/>
                  <a:pt x="600" y="394"/>
                </a:cubicBezTo>
                <a:cubicBezTo>
                  <a:pt x="682" y="367"/>
                  <a:pt x="743" y="345"/>
                  <a:pt x="841" y="312"/>
                </a:cubicBezTo>
                <a:cubicBezTo>
                  <a:pt x="840" y="305"/>
                  <a:pt x="839" y="298"/>
                  <a:pt x="838" y="291"/>
                </a:cubicBezTo>
                <a:cubicBezTo>
                  <a:pt x="833" y="290"/>
                  <a:pt x="828" y="289"/>
                  <a:pt x="823" y="287"/>
                </a:cubicBezTo>
                <a:cubicBezTo>
                  <a:pt x="823" y="285"/>
                  <a:pt x="823" y="279"/>
                  <a:pt x="823" y="269"/>
                </a:cubicBezTo>
                <a:cubicBezTo>
                  <a:pt x="964" y="269"/>
                  <a:pt x="964" y="269"/>
                  <a:pt x="964" y="269"/>
                </a:cubicBezTo>
                <a:cubicBezTo>
                  <a:pt x="965" y="300"/>
                  <a:pt x="984" y="328"/>
                  <a:pt x="1014" y="340"/>
                </a:cubicBezTo>
                <a:cubicBezTo>
                  <a:pt x="1036" y="348"/>
                  <a:pt x="1059" y="347"/>
                  <a:pt x="1078" y="337"/>
                </a:cubicBezTo>
                <a:cubicBezTo>
                  <a:pt x="1078" y="337"/>
                  <a:pt x="1078" y="337"/>
                  <a:pt x="1078" y="337"/>
                </a:cubicBezTo>
                <a:cubicBezTo>
                  <a:pt x="1080" y="347"/>
                  <a:pt x="1083" y="357"/>
                  <a:pt x="1087" y="366"/>
                </a:cubicBezTo>
                <a:cubicBezTo>
                  <a:pt x="1115" y="421"/>
                  <a:pt x="1182" y="444"/>
                  <a:pt x="1238" y="416"/>
                </a:cubicBezTo>
                <a:cubicBezTo>
                  <a:pt x="1253" y="408"/>
                  <a:pt x="1266" y="397"/>
                  <a:pt x="1276" y="384"/>
                </a:cubicBezTo>
                <a:cubicBezTo>
                  <a:pt x="1294" y="410"/>
                  <a:pt x="1327" y="422"/>
                  <a:pt x="1358" y="412"/>
                </a:cubicBezTo>
                <a:cubicBezTo>
                  <a:pt x="1385" y="404"/>
                  <a:pt x="1403" y="382"/>
                  <a:pt x="1408" y="357"/>
                </a:cubicBezTo>
                <a:cubicBezTo>
                  <a:pt x="1427" y="373"/>
                  <a:pt x="1454" y="375"/>
                  <a:pt x="1476" y="362"/>
                </a:cubicBezTo>
                <a:cubicBezTo>
                  <a:pt x="1491" y="352"/>
                  <a:pt x="1500" y="337"/>
                  <a:pt x="1502" y="320"/>
                </a:cubicBezTo>
                <a:cubicBezTo>
                  <a:pt x="1510" y="323"/>
                  <a:pt x="1519" y="325"/>
                  <a:pt x="1528" y="325"/>
                </a:cubicBezTo>
                <a:cubicBezTo>
                  <a:pt x="1571" y="325"/>
                  <a:pt x="1606" y="290"/>
                  <a:pt x="1606" y="247"/>
                </a:cubicBezTo>
                <a:cubicBezTo>
                  <a:pt x="1606" y="204"/>
                  <a:pt x="1571" y="169"/>
                  <a:pt x="1528" y="169"/>
                </a:cubicBezTo>
                <a:close/>
                <a:moveTo>
                  <a:pt x="414" y="273"/>
                </a:moveTo>
                <a:cubicBezTo>
                  <a:pt x="447" y="278"/>
                  <a:pt x="447" y="278"/>
                  <a:pt x="447" y="278"/>
                </a:cubicBezTo>
                <a:cubicBezTo>
                  <a:pt x="448" y="239"/>
                  <a:pt x="448" y="239"/>
                  <a:pt x="448" y="239"/>
                </a:cubicBezTo>
                <a:cubicBezTo>
                  <a:pt x="414" y="239"/>
                  <a:pt x="414" y="239"/>
                  <a:pt x="414" y="239"/>
                </a:cubicBezTo>
                <a:cubicBezTo>
                  <a:pt x="415" y="232"/>
                  <a:pt x="415" y="229"/>
                  <a:pt x="415" y="222"/>
                </a:cubicBezTo>
                <a:cubicBezTo>
                  <a:pt x="448" y="219"/>
                  <a:pt x="448" y="219"/>
                  <a:pt x="448" y="219"/>
                </a:cubicBezTo>
                <a:cubicBezTo>
                  <a:pt x="449" y="183"/>
                  <a:pt x="449" y="183"/>
                  <a:pt x="449" y="183"/>
                </a:cubicBezTo>
                <a:cubicBezTo>
                  <a:pt x="416" y="190"/>
                  <a:pt x="416" y="190"/>
                  <a:pt x="416" y="190"/>
                </a:cubicBezTo>
                <a:cubicBezTo>
                  <a:pt x="416" y="184"/>
                  <a:pt x="416" y="176"/>
                  <a:pt x="416" y="171"/>
                </a:cubicBezTo>
                <a:cubicBezTo>
                  <a:pt x="449" y="162"/>
                  <a:pt x="449" y="162"/>
                  <a:pt x="449" y="162"/>
                </a:cubicBezTo>
                <a:cubicBezTo>
                  <a:pt x="449" y="126"/>
                  <a:pt x="449" y="126"/>
                  <a:pt x="449" y="126"/>
                </a:cubicBezTo>
                <a:cubicBezTo>
                  <a:pt x="417" y="139"/>
                  <a:pt x="417" y="139"/>
                  <a:pt x="417" y="139"/>
                </a:cubicBezTo>
                <a:cubicBezTo>
                  <a:pt x="417" y="129"/>
                  <a:pt x="417" y="122"/>
                  <a:pt x="417" y="121"/>
                </a:cubicBezTo>
                <a:cubicBezTo>
                  <a:pt x="625" y="25"/>
                  <a:pt x="625" y="25"/>
                  <a:pt x="625" y="25"/>
                </a:cubicBezTo>
                <a:cubicBezTo>
                  <a:pt x="625" y="58"/>
                  <a:pt x="625" y="58"/>
                  <a:pt x="625" y="58"/>
                </a:cubicBezTo>
                <a:cubicBezTo>
                  <a:pt x="539" y="91"/>
                  <a:pt x="539" y="91"/>
                  <a:pt x="539" y="91"/>
                </a:cubicBezTo>
                <a:cubicBezTo>
                  <a:pt x="539" y="138"/>
                  <a:pt x="539" y="138"/>
                  <a:pt x="539" y="138"/>
                </a:cubicBezTo>
                <a:cubicBezTo>
                  <a:pt x="625" y="117"/>
                  <a:pt x="625" y="117"/>
                  <a:pt x="625" y="117"/>
                </a:cubicBezTo>
                <a:cubicBezTo>
                  <a:pt x="625" y="147"/>
                  <a:pt x="625" y="147"/>
                  <a:pt x="625" y="147"/>
                </a:cubicBezTo>
                <a:cubicBezTo>
                  <a:pt x="625" y="147"/>
                  <a:pt x="539" y="164"/>
                  <a:pt x="539" y="164"/>
                </a:cubicBezTo>
                <a:cubicBezTo>
                  <a:pt x="539" y="212"/>
                  <a:pt x="539" y="212"/>
                  <a:pt x="539" y="212"/>
                </a:cubicBezTo>
                <a:cubicBezTo>
                  <a:pt x="539" y="212"/>
                  <a:pt x="624" y="206"/>
                  <a:pt x="625" y="206"/>
                </a:cubicBezTo>
                <a:cubicBezTo>
                  <a:pt x="625" y="240"/>
                  <a:pt x="625" y="240"/>
                  <a:pt x="625" y="240"/>
                </a:cubicBezTo>
                <a:cubicBezTo>
                  <a:pt x="539" y="239"/>
                  <a:pt x="539" y="239"/>
                  <a:pt x="539" y="239"/>
                </a:cubicBezTo>
                <a:cubicBezTo>
                  <a:pt x="539" y="292"/>
                  <a:pt x="539" y="292"/>
                  <a:pt x="539" y="292"/>
                </a:cubicBezTo>
                <a:cubicBezTo>
                  <a:pt x="625" y="306"/>
                  <a:pt x="625" y="306"/>
                  <a:pt x="625" y="306"/>
                </a:cubicBezTo>
                <a:cubicBezTo>
                  <a:pt x="625" y="339"/>
                  <a:pt x="625" y="339"/>
                  <a:pt x="625" y="339"/>
                </a:cubicBezTo>
                <a:cubicBezTo>
                  <a:pt x="625" y="339"/>
                  <a:pt x="568" y="326"/>
                  <a:pt x="519" y="315"/>
                </a:cubicBezTo>
                <a:cubicBezTo>
                  <a:pt x="519" y="239"/>
                  <a:pt x="519" y="239"/>
                  <a:pt x="519" y="239"/>
                </a:cubicBezTo>
                <a:cubicBezTo>
                  <a:pt x="462" y="239"/>
                  <a:pt x="462" y="239"/>
                  <a:pt x="462" y="239"/>
                </a:cubicBezTo>
                <a:cubicBezTo>
                  <a:pt x="462" y="301"/>
                  <a:pt x="462" y="301"/>
                  <a:pt x="462" y="301"/>
                </a:cubicBezTo>
                <a:cubicBezTo>
                  <a:pt x="437" y="295"/>
                  <a:pt x="419" y="291"/>
                  <a:pt x="413" y="289"/>
                </a:cubicBezTo>
                <a:cubicBezTo>
                  <a:pt x="413" y="288"/>
                  <a:pt x="414" y="282"/>
                  <a:pt x="414" y="273"/>
                </a:cubicBezTo>
                <a:close/>
                <a:moveTo>
                  <a:pt x="476" y="249"/>
                </a:moveTo>
                <a:cubicBezTo>
                  <a:pt x="475" y="300"/>
                  <a:pt x="475" y="300"/>
                  <a:pt x="475" y="300"/>
                </a:cubicBezTo>
                <a:cubicBezTo>
                  <a:pt x="471" y="301"/>
                  <a:pt x="471" y="301"/>
                  <a:pt x="471" y="301"/>
                </a:cubicBezTo>
                <a:cubicBezTo>
                  <a:pt x="472" y="246"/>
                  <a:pt x="472" y="246"/>
                  <a:pt x="472" y="246"/>
                </a:cubicBezTo>
                <a:cubicBezTo>
                  <a:pt x="515" y="246"/>
                  <a:pt x="515" y="246"/>
                  <a:pt x="515" y="246"/>
                </a:cubicBezTo>
                <a:cubicBezTo>
                  <a:pt x="515" y="249"/>
                  <a:pt x="515" y="249"/>
                  <a:pt x="515" y="249"/>
                </a:cubicBezTo>
                <a:cubicBezTo>
                  <a:pt x="501" y="249"/>
                  <a:pt x="501" y="249"/>
                  <a:pt x="501" y="249"/>
                </a:cubicBezTo>
                <a:cubicBezTo>
                  <a:pt x="501" y="305"/>
                  <a:pt x="501" y="305"/>
                  <a:pt x="501" y="305"/>
                </a:cubicBezTo>
                <a:cubicBezTo>
                  <a:pt x="498" y="305"/>
                  <a:pt x="498" y="305"/>
                  <a:pt x="498" y="305"/>
                </a:cubicBezTo>
                <a:cubicBezTo>
                  <a:pt x="498" y="249"/>
                  <a:pt x="498" y="249"/>
                  <a:pt x="498" y="249"/>
                </a:cubicBezTo>
                <a:lnTo>
                  <a:pt x="476" y="249"/>
                </a:lnTo>
                <a:close/>
                <a:moveTo>
                  <a:pt x="599" y="379"/>
                </a:moveTo>
                <a:cubicBezTo>
                  <a:pt x="565" y="368"/>
                  <a:pt x="389" y="308"/>
                  <a:pt x="371" y="301"/>
                </a:cubicBezTo>
                <a:cubicBezTo>
                  <a:pt x="384" y="299"/>
                  <a:pt x="397" y="296"/>
                  <a:pt x="410" y="293"/>
                </a:cubicBezTo>
                <a:cubicBezTo>
                  <a:pt x="412" y="294"/>
                  <a:pt x="413" y="294"/>
                  <a:pt x="415" y="294"/>
                </a:cubicBezTo>
                <a:cubicBezTo>
                  <a:pt x="437" y="300"/>
                  <a:pt x="630" y="346"/>
                  <a:pt x="630" y="346"/>
                </a:cubicBezTo>
                <a:cubicBezTo>
                  <a:pt x="630" y="346"/>
                  <a:pt x="630" y="346"/>
                  <a:pt x="630" y="346"/>
                </a:cubicBezTo>
                <a:cubicBezTo>
                  <a:pt x="726" y="342"/>
                  <a:pt x="726" y="342"/>
                  <a:pt x="726" y="342"/>
                </a:cubicBezTo>
                <a:cubicBezTo>
                  <a:pt x="681" y="355"/>
                  <a:pt x="624" y="372"/>
                  <a:pt x="599" y="379"/>
                </a:cubicBezTo>
                <a:close/>
                <a:moveTo>
                  <a:pt x="1137" y="297"/>
                </a:moveTo>
                <a:cubicBezTo>
                  <a:pt x="1137" y="256"/>
                  <a:pt x="1137" y="256"/>
                  <a:pt x="1137" y="256"/>
                </a:cubicBezTo>
                <a:cubicBezTo>
                  <a:pt x="794" y="256"/>
                  <a:pt x="794" y="256"/>
                  <a:pt x="794" y="256"/>
                </a:cubicBezTo>
                <a:cubicBezTo>
                  <a:pt x="794" y="256"/>
                  <a:pt x="794" y="256"/>
                  <a:pt x="794" y="256"/>
                </a:cubicBezTo>
                <a:cubicBezTo>
                  <a:pt x="771" y="256"/>
                  <a:pt x="771" y="256"/>
                  <a:pt x="771" y="256"/>
                </a:cubicBezTo>
                <a:cubicBezTo>
                  <a:pt x="771" y="297"/>
                  <a:pt x="771" y="297"/>
                  <a:pt x="771" y="297"/>
                </a:cubicBezTo>
                <a:cubicBezTo>
                  <a:pt x="686" y="212"/>
                  <a:pt x="686" y="212"/>
                  <a:pt x="686" y="212"/>
                </a:cubicBezTo>
                <a:cubicBezTo>
                  <a:pt x="771" y="127"/>
                  <a:pt x="771" y="127"/>
                  <a:pt x="771" y="127"/>
                </a:cubicBezTo>
                <a:cubicBezTo>
                  <a:pt x="771" y="168"/>
                  <a:pt x="771" y="168"/>
                  <a:pt x="771" y="168"/>
                </a:cubicBezTo>
                <a:cubicBezTo>
                  <a:pt x="1114" y="168"/>
                  <a:pt x="1114" y="168"/>
                  <a:pt x="1114" y="168"/>
                </a:cubicBezTo>
                <a:cubicBezTo>
                  <a:pt x="1114" y="168"/>
                  <a:pt x="1114" y="168"/>
                  <a:pt x="1114" y="168"/>
                </a:cubicBezTo>
                <a:cubicBezTo>
                  <a:pt x="1137" y="168"/>
                  <a:pt x="1137" y="168"/>
                  <a:pt x="1137" y="168"/>
                </a:cubicBezTo>
                <a:cubicBezTo>
                  <a:pt x="1137" y="127"/>
                  <a:pt x="1137" y="127"/>
                  <a:pt x="1137" y="127"/>
                </a:cubicBezTo>
                <a:cubicBezTo>
                  <a:pt x="1222" y="212"/>
                  <a:pt x="1222" y="212"/>
                  <a:pt x="1222" y="212"/>
                </a:cubicBezTo>
                <a:lnTo>
                  <a:pt x="1137" y="297"/>
                </a:lnTo>
                <a:close/>
              </a:path>
            </a:pathLst>
          </a:custGeom>
          <a:solidFill>
            <a:srgbClr val="0070C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61" name="Text Placeholder 12"/>
          <p:cNvSpPr txBox="1">
            <a:spLocks/>
          </p:cNvSpPr>
          <p:nvPr/>
        </p:nvSpPr>
        <p:spPr>
          <a:xfrm>
            <a:off x="2470169" y="5499125"/>
            <a:ext cx="3848148"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spc="0" dirty="0" smtClean="0">
                <a:solidFill>
                  <a:srgbClr val="969696">
                    <a:lumMod val="50000"/>
                  </a:srgbClr>
                </a:solidFill>
                <a:latin typeface="Segoe UI"/>
              </a:rPr>
              <a:t>Management.  Access.  Protection.</a:t>
            </a:r>
            <a:endParaRPr lang="en-US" sz="2000" spc="0" dirty="0">
              <a:solidFill>
                <a:srgbClr val="969696">
                  <a:lumMod val="50000"/>
                </a:srgbClr>
              </a:solidFill>
              <a:latin typeface="Segoe UI"/>
            </a:endParaRPr>
          </a:p>
        </p:txBody>
      </p:sp>
      <p:sp>
        <p:nvSpPr>
          <p:cNvPr id="162" name="Freeform 24"/>
          <p:cNvSpPr>
            <a:spLocks/>
          </p:cNvSpPr>
          <p:nvPr/>
        </p:nvSpPr>
        <p:spPr bwMode="auto">
          <a:xfrm>
            <a:off x="2772578" y="2892931"/>
            <a:ext cx="10929" cy="18146"/>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63" name="Freeform 25"/>
          <p:cNvSpPr>
            <a:spLocks/>
          </p:cNvSpPr>
          <p:nvPr/>
        </p:nvSpPr>
        <p:spPr bwMode="auto">
          <a:xfrm>
            <a:off x="2805365" y="2584452"/>
            <a:ext cx="15027" cy="14258"/>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64" name="Freeform 26"/>
          <p:cNvSpPr>
            <a:spLocks/>
          </p:cNvSpPr>
          <p:nvPr/>
        </p:nvSpPr>
        <p:spPr bwMode="auto">
          <a:xfrm>
            <a:off x="2805365" y="2584452"/>
            <a:ext cx="15027" cy="14258"/>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65" name="Freeform 42"/>
          <p:cNvSpPr>
            <a:spLocks/>
          </p:cNvSpPr>
          <p:nvPr/>
        </p:nvSpPr>
        <p:spPr bwMode="auto">
          <a:xfrm>
            <a:off x="3451026" y="3240658"/>
            <a:ext cx="20869" cy="28948"/>
          </a:xfrm>
          <a:custGeom>
            <a:avLst/>
            <a:gdLst>
              <a:gd name="T0" fmla="*/ 46 w 46"/>
              <a:gd name="T1" fmla="*/ 0 h 65"/>
              <a:gd name="T2" fmla="*/ 35 w 46"/>
              <a:gd name="T3" fmla="*/ 6 h 65"/>
              <a:gd name="T4" fmla="*/ 21 w 46"/>
              <a:gd name="T5" fmla="*/ 19 h 65"/>
              <a:gd name="T6" fmla="*/ 7 w 46"/>
              <a:gd name="T7" fmla="*/ 38 h 65"/>
              <a:gd name="T8" fmla="*/ 0 w 46"/>
              <a:gd name="T9" fmla="*/ 65 h 65"/>
              <a:gd name="T10" fmla="*/ 7 w 46"/>
              <a:gd name="T11" fmla="*/ 38 h 65"/>
              <a:gd name="T12" fmla="*/ 21 w 46"/>
              <a:gd name="T13" fmla="*/ 19 h 65"/>
              <a:gd name="T14" fmla="*/ 35 w 46"/>
              <a:gd name="T15" fmla="*/ 6 h 65"/>
              <a:gd name="T16" fmla="*/ 46 w 46"/>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65">
                <a:moveTo>
                  <a:pt x="46" y="0"/>
                </a:moveTo>
                <a:cubicBezTo>
                  <a:pt x="43" y="1"/>
                  <a:pt x="40" y="3"/>
                  <a:pt x="35" y="6"/>
                </a:cubicBezTo>
                <a:cubicBezTo>
                  <a:pt x="31" y="10"/>
                  <a:pt x="26" y="14"/>
                  <a:pt x="21" y="19"/>
                </a:cubicBezTo>
                <a:cubicBezTo>
                  <a:pt x="16" y="24"/>
                  <a:pt x="11" y="31"/>
                  <a:pt x="7" y="38"/>
                </a:cubicBezTo>
                <a:cubicBezTo>
                  <a:pt x="4" y="46"/>
                  <a:pt x="1" y="55"/>
                  <a:pt x="0" y="65"/>
                </a:cubicBezTo>
                <a:cubicBezTo>
                  <a:pt x="1" y="55"/>
                  <a:pt x="4" y="46"/>
                  <a:pt x="7" y="38"/>
                </a:cubicBezTo>
                <a:cubicBezTo>
                  <a:pt x="11" y="31"/>
                  <a:pt x="16" y="24"/>
                  <a:pt x="21" y="19"/>
                </a:cubicBezTo>
                <a:cubicBezTo>
                  <a:pt x="26" y="14"/>
                  <a:pt x="31" y="10"/>
                  <a:pt x="35" y="6"/>
                </a:cubicBezTo>
                <a:cubicBezTo>
                  <a:pt x="40" y="3"/>
                  <a:pt x="43" y="1"/>
                  <a:pt x="46"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66" name="Rectangle 165"/>
          <p:cNvSpPr/>
          <p:nvPr/>
        </p:nvSpPr>
        <p:spPr bwMode="auto">
          <a:xfrm>
            <a:off x="452494" y="4423410"/>
            <a:ext cx="7883498" cy="1383030"/>
          </a:xfrm>
          <a:prstGeom prst="rect">
            <a:avLst/>
          </a:prstGeom>
          <a:noFill/>
          <a:ln w="10795" cap="flat" cmpd="sng" algn="ctr">
            <a:solidFill>
              <a:srgbClr val="969696">
                <a:lumMod val="5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67" name="Group 166"/>
          <p:cNvGrpSpPr/>
          <p:nvPr/>
        </p:nvGrpSpPr>
        <p:grpSpPr>
          <a:xfrm>
            <a:off x="6339630" y="1580816"/>
            <a:ext cx="1996362" cy="2748161"/>
            <a:chOff x="6339630" y="1580816"/>
            <a:chExt cx="1996362" cy="2748161"/>
          </a:xfrm>
        </p:grpSpPr>
        <p:sp>
          <p:nvSpPr>
            <p:cNvPr id="168" name="Text Placeholder 12"/>
            <p:cNvSpPr txBox="1">
              <a:spLocks/>
            </p:cNvSpPr>
            <p:nvPr/>
          </p:nvSpPr>
          <p:spPr>
            <a:xfrm>
              <a:off x="6884596" y="3902176"/>
              <a:ext cx="930174" cy="276999"/>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000" b="1" i="0" u="none" strike="noStrike" kern="1200" cap="none" spc="0" normalizeH="0" baseline="0" noProof="0" dirty="0">
                  <a:ln>
                    <a:noFill/>
                  </a:ln>
                  <a:solidFill>
                    <a:srgbClr val="442359"/>
                  </a:solidFill>
                  <a:effectLst/>
                  <a:uLnTx/>
                  <a:uFillTx/>
                  <a:latin typeface="Segoe UI"/>
                </a:rPr>
                <a:t>Data</a:t>
              </a:r>
            </a:p>
          </p:txBody>
        </p:sp>
        <p:sp>
          <p:nvSpPr>
            <p:cNvPr id="169" name="Rectangle 168"/>
            <p:cNvSpPr/>
            <p:nvPr/>
          </p:nvSpPr>
          <p:spPr bwMode="auto">
            <a:xfrm>
              <a:off x="6339630" y="1580816"/>
              <a:ext cx="1996362" cy="2748161"/>
            </a:xfrm>
            <a:prstGeom prst="rect">
              <a:avLst/>
            </a:prstGeom>
            <a:noFill/>
            <a:ln w="10795" cap="flat" cmpd="sng" algn="ctr">
              <a:solidFill>
                <a:srgbClr val="7030A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70" name="Group 169"/>
            <p:cNvGrpSpPr/>
            <p:nvPr/>
          </p:nvGrpSpPr>
          <p:grpSpPr>
            <a:xfrm>
              <a:off x="6549739" y="1682732"/>
              <a:ext cx="1571639" cy="2130236"/>
              <a:chOff x="9962648" y="1385701"/>
              <a:chExt cx="1880481" cy="2548848"/>
            </a:xfrm>
          </p:grpSpPr>
          <p:sp>
            <p:nvSpPr>
              <p:cNvPr id="171" name="Freeform 331"/>
              <p:cNvSpPr>
                <a:spLocks noChangeAspect="1" noEditPoints="1"/>
              </p:cNvSpPr>
              <p:nvPr/>
            </p:nvSpPr>
            <p:spPr bwMode="auto">
              <a:xfrm>
                <a:off x="9962648" y="2264337"/>
                <a:ext cx="887171" cy="87011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72" name="Freeform 346"/>
              <p:cNvSpPr>
                <a:spLocks noChangeAspect="1" noEditPoints="1"/>
              </p:cNvSpPr>
              <p:nvPr/>
            </p:nvSpPr>
            <p:spPr bwMode="auto">
              <a:xfrm>
                <a:off x="10935954" y="2386132"/>
                <a:ext cx="907175" cy="518067"/>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73" name="Freeform 37"/>
              <p:cNvSpPr>
                <a:spLocks noEditPoints="1"/>
              </p:cNvSpPr>
              <p:nvPr/>
            </p:nvSpPr>
            <p:spPr bwMode="auto">
              <a:xfrm>
                <a:off x="10696245" y="1385701"/>
                <a:ext cx="1146884" cy="817571"/>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pic>
            <p:nvPicPr>
              <p:cNvPr id="174" name="Picture 1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61816" y="1406416"/>
                <a:ext cx="542443" cy="820803"/>
              </a:xfrm>
              <a:prstGeom prst="rect">
                <a:avLst/>
              </a:prstGeom>
            </p:spPr>
          </p:pic>
          <p:pic>
            <p:nvPicPr>
              <p:cNvPr id="175" name="Picture 1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03449" y="3134449"/>
                <a:ext cx="1200150" cy="800100"/>
              </a:xfrm>
              <a:prstGeom prst="rect">
                <a:avLst/>
              </a:prstGeom>
            </p:spPr>
          </p:pic>
        </p:grpSp>
      </p:grpSp>
      <p:sp>
        <p:nvSpPr>
          <p:cNvPr id="176" name="Left-Right Arrow 175"/>
          <p:cNvSpPr/>
          <p:nvPr/>
        </p:nvSpPr>
        <p:spPr bwMode="auto">
          <a:xfrm rot="5400000">
            <a:off x="5006048" y="4454713"/>
            <a:ext cx="894095" cy="322824"/>
          </a:xfrm>
          <a:prstGeom prst="leftRightArrow">
            <a:avLst/>
          </a:prstGeom>
          <a:solidFill>
            <a:srgbClr val="FFFFFF"/>
          </a:solidFill>
          <a:ln w="25400" cap="flat" cmpd="sng" algn="ctr">
            <a:solidFill>
              <a:srgbClr val="FF8C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7" name="Left-Right Arrow 176"/>
          <p:cNvSpPr/>
          <p:nvPr/>
        </p:nvSpPr>
        <p:spPr bwMode="auto">
          <a:xfrm rot="5400000">
            <a:off x="6852714" y="4455716"/>
            <a:ext cx="902931" cy="322824"/>
          </a:xfrm>
          <a:prstGeom prst="leftRightArrow">
            <a:avLst/>
          </a:prstGeom>
          <a:solidFill>
            <a:srgbClr val="FFFFFF"/>
          </a:solidFill>
          <a:ln w="25400" cap="flat" cmpd="sng" algn="ctr">
            <a:solidFill>
              <a:srgbClr val="442359"/>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8" name="Left-Right Arrow 177"/>
          <p:cNvSpPr/>
          <p:nvPr/>
        </p:nvSpPr>
        <p:spPr bwMode="auto">
          <a:xfrm>
            <a:off x="5968186" y="3171475"/>
            <a:ext cx="702336" cy="322824"/>
          </a:xfrm>
          <a:prstGeom prst="leftRightArrow">
            <a:avLst/>
          </a:prstGeom>
          <a:solidFill>
            <a:srgbClr val="FFFFFF"/>
          </a:solidFill>
          <a:ln w="25400" cap="flat" cmpd="sng" algn="ctr">
            <a:solidFill>
              <a:srgbClr val="FF8C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9" name="Left-Right Arrow 178"/>
          <p:cNvSpPr/>
          <p:nvPr/>
        </p:nvSpPr>
        <p:spPr bwMode="auto">
          <a:xfrm rot="5400000">
            <a:off x="842320" y="4458889"/>
            <a:ext cx="902927" cy="322824"/>
          </a:xfrm>
          <a:prstGeom prst="leftRightArrow">
            <a:avLst/>
          </a:prstGeom>
          <a:solidFill>
            <a:srgbClr val="FFFFFF"/>
          </a:solidFill>
          <a:ln w="25400" cap="flat" cmpd="sng" algn="ctr">
            <a:solidFill>
              <a:srgbClr val="00187B"/>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80" name="Group 179"/>
          <p:cNvGrpSpPr/>
          <p:nvPr/>
        </p:nvGrpSpPr>
        <p:grpSpPr>
          <a:xfrm>
            <a:off x="2412779" y="1580816"/>
            <a:ext cx="1887864" cy="2747797"/>
            <a:chOff x="2412779" y="1580816"/>
            <a:chExt cx="1887864" cy="2747797"/>
          </a:xfrm>
        </p:grpSpPr>
        <p:grpSp>
          <p:nvGrpSpPr>
            <p:cNvPr id="181" name="Group 180"/>
            <p:cNvGrpSpPr/>
            <p:nvPr/>
          </p:nvGrpSpPr>
          <p:grpSpPr>
            <a:xfrm>
              <a:off x="2412779" y="1580816"/>
              <a:ext cx="1887864" cy="2747797"/>
              <a:chOff x="2412779" y="1580816"/>
              <a:chExt cx="1887864" cy="2747797"/>
            </a:xfrm>
          </p:grpSpPr>
          <p:sp>
            <p:nvSpPr>
              <p:cNvPr id="185" name="Text Placeholder 12"/>
              <p:cNvSpPr txBox="1">
                <a:spLocks/>
              </p:cNvSpPr>
              <p:nvPr/>
            </p:nvSpPr>
            <p:spPr>
              <a:xfrm>
                <a:off x="2893275" y="3924106"/>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000" b="1" i="0" u="none" strike="noStrike" kern="1200" cap="none" spc="0" normalizeH="0" baseline="0" noProof="0" dirty="0">
                    <a:ln>
                      <a:noFill/>
                    </a:ln>
                    <a:solidFill>
                      <a:srgbClr val="3D5800"/>
                    </a:solidFill>
                    <a:effectLst/>
                    <a:uLnTx/>
                    <a:uFillTx/>
                    <a:latin typeface="Segoe UI"/>
                  </a:rPr>
                  <a:t>Devices</a:t>
                </a:r>
              </a:p>
            </p:txBody>
          </p:sp>
          <p:sp>
            <p:nvSpPr>
              <p:cNvPr id="186" name="Rectangle 185"/>
              <p:cNvSpPr/>
              <p:nvPr/>
            </p:nvSpPr>
            <p:spPr bwMode="auto">
              <a:xfrm>
                <a:off x="2412779" y="1580816"/>
                <a:ext cx="1887864" cy="2747797"/>
              </a:xfrm>
              <a:prstGeom prst="rect">
                <a:avLst/>
              </a:prstGeom>
              <a:noFill/>
              <a:ln w="10795" cap="flat" cmpd="sng" algn="ctr">
                <a:solidFill>
                  <a:srgbClr val="3D58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87" name="Group 186"/>
              <p:cNvGrpSpPr/>
              <p:nvPr/>
            </p:nvGrpSpPr>
            <p:grpSpPr>
              <a:xfrm>
                <a:off x="2694451" y="1679521"/>
                <a:ext cx="1333710" cy="2237201"/>
                <a:chOff x="3632038" y="1206859"/>
                <a:chExt cx="1847223" cy="3098577"/>
              </a:xfrm>
            </p:grpSpPr>
            <p:sp>
              <p:nvSpPr>
                <p:cNvPr id="188" name="Freeform 24"/>
                <p:cNvSpPr>
                  <a:spLocks/>
                </p:cNvSpPr>
                <p:nvPr/>
              </p:nvSpPr>
              <p:spPr bwMode="auto">
                <a:xfrm>
                  <a:off x="3632038" y="2956925"/>
                  <a:ext cx="15888" cy="28910"/>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89" name="Freeform 25"/>
                <p:cNvSpPr>
                  <a:spLocks/>
                </p:cNvSpPr>
                <p:nvPr/>
              </p:nvSpPr>
              <p:spPr bwMode="auto">
                <a:xfrm>
                  <a:off x="3679701" y="2465467"/>
                  <a:ext cx="21845" cy="22715"/>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90" name="Freeform 26"/>
                <p:cNvSpPr>
                  <a:spLocks/>
                </p:cNvSpPr>
                <p:nvPr/>
              </p:nvSpPr>
              <p:spPr bwMode="auto">
                <a:xfrm>
                  <a:off x="3679701" y="2465467"/>
                  <a:ext cx="21845" cy="22715"/>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91" name="Freeform 27"/>
                <p:cNvSpPr>
                  <a:spLocks/>
                </p:cNvSpPr>
                <p:nvPr/>
              </p:nvSpPr>
              <p:spPr bwMode="auto">
                <a:xfrm>
                  <a:off x="3955749" y="3008552"/>
                  <a:ext cx="31777" cy="39235"/>
                </a:xfrm>
                <a:custGeom>
                  <a:avLst/>
                  <a:gdLst>
                    <a:gd name="T0" fmla="*/ 15 w 27"/>
                    <a:gd name="T1" fmla="*/ 0 h 31"/>
                    <a:gd name="T2" fmla="*/ 20 w 27"/>
                    <a:gd name="T3" fmla="*/ 3 h 31"/>
                    <a:gd name="T4" fmla="*/ 24 w 27"/>
                    <a:gd name="T5" fmla="*/ 7 h 31"/>
                    <a:gd name="T6" fmla="*/ 27 w 27"/>
                    <a:gd name="T7" fmla="*/ 12 h 31"/>
                    <a:gd name="T8" fmla="*/ 27 w 27"/>
                    <a:gd name="T9" fmla="*/ 19 h 31"/>
                    <a:gd name="T10" fmla="*/ 25 w 27"/>
                    <a:gd name="T11" fmla="*/ 24 h 31"/>
                    <a:gd name="T12" fmla="*/ 22 w 27"/>
                    <a:gd name="T13" fmla="*/ 29 h 31"/>
                    <a:gd name="T14" fmla="*/ 17 w 27"/>
                    <a:gd name="T15" fmla="*/ 31 h 31"/>
                    <a:gd name="T16" fmla="*/ 12 w 27"/>
                    <a:gd name="T17" fmla="*/ 31 h 31"/>
                    <a:gd name="T18" fmla="*/ 7 w 27"/>
                    <a:gd name="T19" fmla="*/ 29 h 31"/>
                    <a:gd name="T20" fmla="*/ 3 w 27"/>
                    <a:gd name="T21" fmla="*/ 24 h 31"/>
                    <a:gd name="T22" fmla="*/ 0 w 27"/>
                    <a:gd name="T23" fmla="*/ 19 h 31"/>
                    <a:gd name="T24" fmla="*/ 0 w 27"/>
                    <a:gd name="T25" fmla="*/ 13 h 31"/>
                    <a:gd name="T26" fmla="*/ 2 w 27"/>
                    <a:gd name="T27" fmla="*/ 7 h 31"/>
                    <a:gd name="T28" fmla="*/ 5 w 27"/>
                    <a:gd name="T29" fmla="*/ 3 h 31"/>
                    <a:gd name="T30" fmla="*/ 10 w 27"/>
                    <a:gd name="T31" fmla="*/ 0 h 31"/>
                    <a:gd name="T32" fmla="*/ 15 w 27"/>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31">
                      <a:moveTo>
                        <a:pt x="15" y="0"/>
                      </a:moveTo>
                      <a:cubicBezTo>
                        <a:pt x="17" y="1"/>
                        <a:pt x="19" y="1"/>
                        <a:pt x="20" y="3"/>
                      </a:cubicBezTo>
                      <a:cubicBezTo>
                        <a:pt x="22" y="4"/>
                        <a:pt x="23" y="5"/>
                        <a:pt x="24" y="7"/>
                      </a:cubicBezTo>
                      <a:cubicBezTo>
                        <a:pt x="26" y="9"/>
                        <a:pt x="26" y="10"/>
                        <a:pt x="27" y="12"/>
                      </a:cubicBezTo>
                      <a:cubicBezTo>
                        <a:pt x="27" y="14"/>
                        <a:pt x="27" y="17"/>
                        <a:pt x="27" y="19"/>
                      </a:cubicBezTo>
                      <a:cubicBezTo>
                        <a:pt x="27" y="21"/>
                        <a:pt x="26" y="23"/>
                        <a:pt x="25" y="24"/>
                      </a:cubicBezTo>
                      <a:cubicBezTo>
                        <a:pt x="25" y="26"/>
                        <a:pt x="23" y="28"/>
                        <a:pt x="22" y="29"/>
                      </a:cubicBezTo>
                      <a:cubicBezTo>
                        <a:pt x="21" y="30"/>
                        <a:pt x="19" y="31"/>
                        <a:pt x="17" y="31"/>
                      </a:cubicBezTo>
                      <a:cubicBezTo>
                        <a:pt x="15" y="31"/>
                        <a:pt x="14" y="31"/>
                        <a:pt x="12" y="31"/>
                      </a:cubicBezTo>
                      <a:cubicBezTo>
                        <a:pt x="10" y="31"/>
                        <a:pt x="8" y="30"/>
                        <a:pt x="7" y="29"/>
                      </a:cubicBezTo>
                      <a:cubicBezTo>
                        <a:pt x="5" y="27"/>
                        <a:pt x="4" y="26"/>
                        <a:pt x="3" y="24"/>
                      </a:cubicBezTo>
                      <a:cubicBezTo>
                        <a:pt x="2" y="23"/>
                        <a:pt x="1" y="21"/>
                        <a:pt x="0" y="19"/>
                      </a:cubicBezTo>
                      <a:cubicBezTo>
                        <a:pt x="0" y="17"/>
                        <a:pt x="0" y="15"/>
                        <a:pt x="0" y="13"/>
                      </a:cubicBezTo>
                      <a:cubicBezTo>
                        <a:pt x="0" y="10"/>
                        <a:pt x="1" y="9"/>
                        <a:pt x="2" y="7"/>
                      </a:cubicBezTo>
                      <a:cubicBezTo>
                        <a:pt x="3" y="5"/>
                        <a:pt x="4" y="4"/>
                        <a:pt x="5" y="3"/>
                      </a:cubicBezTo>
                      <a:cubicBezTo>
                        <a:pt x="7" y="2"/>
                        <a:pt x="8" y="1"/>
                        <a:pt x="10" y="0"/>
                      </a:cubicBezTo>
                      <a:cubicBezTo>
                        <a:pt x="12" y="0"/>
                        <a:pt x="13" y="0"/>
                        <a:pt x="15" y="0"/>
                      </a:cubicBezTo>
                      <a:close/>
                    </a:path>
                  </a:pathLst>
                </a:custGeom>
                <a:solidFill>
                  <a:srgbClr val="7FBA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pic>
              <p:nvPicPr>
                <p:cNvPr id="192" name="Picture 19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38632" y="3327102"/>
                  <a:ext cx="1465959" cy="978334"/>
                </a:xfrm>
                <a:prstGeom prst="rect">
                  <a:avLst/>
                </a:prstGeom>
              </p:spPr>
            </p:pic>
            <p:pic>
              <p:nvPicPr>
                <p:cNvPr id="193" name="Picture 19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47372" y="2347338"/>
                  <a:ext cx="486267" cy="898622"/>
                </a:xfrm>
                <a:prstGeom prst="rect">
                  <a:avLst/>
                </a:prstGeom>
              </p:spPr>
            </p:pic>
            <p:pic>
              <p:nvPicPr>
                <p:cNvPr id="194" name="Picture 19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0464" y="1206859"/>
                  <a:ext cx="1118797" cy="1118797"/>
                </a:xfrm>
                <a:prstGeom prst="rect">
                  <a:avLst/>
                </a:prstGeom>
              </p:spPr>
            </p:pic>
            <p:pic>
              <p:nvPicPr>
                <p:cNvPr id="195" name="Picture 1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48794" y="1276042"/>
                  <a:ext cx="710070" cy="920829"/>
                </a:xfrm>
                <a:prstGeom prst="rect">
                  <a:avLst/>
                </a:prstGeom>
              </p:spPr>
            </p:pic>
          </p:grpSp>
        </p:grpSp>
        <p:grpSp>
          <p:nvGrpSpPr>
            <p:cNvPr id="182" name="Group 181"/>
            <p:cNvGrpSpPr>
              <a:grpSpLocks noChangeAspect="1"/>
            </p:cNvGrpSpPr>
            <p:nvPr/>
          </p:nvGrpSpPr>
          <p:grpSpPr bwMode="auto">
            <a:xfrm>
              <a:off x="2641549" y="2498504"/>
              <a:ext cx="742387" cy="635008"/>
              <a:chOff x="1063" y="2846"/>
              <a:chExt cx="961" cy="822"/>
            </a:xfrm>
          </p:grpSpPr>
          <p:sp>
            <p:nvSpPr>
              <p:cNvPr id="183" name="Freeform 6"/>
              <p:cNvSpPr>
                <a:spLocks noEditPoints="1"/>
              </p:cNvSpPr>
              <p:nvPr/>
            </p:nvSpPr>
            <p:spPr bwMode="auto">
              <a:xfrm>
                <a:off x="1063" y="2846"/>
                <a:ext cx="961" cy="822"/>
              </a:xfrm>
              <a:custGeom>
                <a:avLst/>
                <a:gdLst>
                  <a:gd name="T0" fmla="*/ 265 w 3843"/>
                  <a:gd name="T1" fmla="*/ 229 h 3287"/>
                  <a:gd name="T2" fmla="*/ 225 w 3843"/>
                  <a:gd name="T3" fmla="*/ 311 h 3287"/>
                  <a:gd name="T4" fmla="*/ 225 w 3843"/>
                  <a:gd name="T5" fmla="*/ 679 h 3287"/>
                  <a:gd name="T6" fmla="*/ 225 w 3843"/>
                  <a:gd name="T7" fmla="*/ 1741 h 3287"/>
                  <a:gd name="T8" fmla="*/ 227 w 3843"/>
                  <a:gd name="T9" fmla="*/ 2520 h 3287"/>
                  <a:gd name="T10" fmla="*/ 331 w 3843"/>
                  <a:gd name="T11" fmla="*/ 2598 h 3287"/>
                  <a:gd name="T12" fmla="*/ 403 w 3843"/>
                  <a:gd name="T13" fmla="*/ 2598 h 3287"/>
                  <a:gd name="T14" fmla="*/ 907 w 3843"/>
                  <a:gd name="T15" fmla="*/ 2598 h 3287"/>
                  <a:gd name="T16" fmla="*/ 1618 w 3843"/>
                  <a:gd name="T17" fmla="*/ 2598 h 3287"/>
                  <a:gd name="T18" fmla="*/ 2427 w 3843"/>
                  <a:gd name="T19" fmla="*/ 2598 h 3287"/>
                  <a:gd name="T20" fmla="*/ 3542 w 3843"/>
                  <a:gd name="T21" fmla="*/ 2596 h 3287"/>
                  <a:gd name="T22" fmla="*/ 3621 w 3843"/>
                  <a:gd name="T23" fmla="*/ 2495 h 3287"/>
                  <a:gd name="T24" fmla="*/ 3621 w 3843"/>
                  <a:gd name="T25" fmla="*/ 2223 h 3287"/>
                  <a:gd name="T26" fmla="*/ 3621 w 3843"/>
                  <a:gd name="T27" fmla="*/ 1873 h 3287"/>
                  <a:gd name="T28" fmla="*/ 3621 w 3843"/>
                  <a:gd name="T29" fmla="*/ 479 h 3287"/>
                  <a:gd name="T30" fmla="*/ 3563 w 3843"/>
                  <a:gd name="T31" fmla="*/ 218 h 3287"/>
                  <a:gd name="T32" fmla="*/ 3007 w 3843"/>
                  <a:gd name="T33" fmla="*/ 208 h 3287"/>
                  <a:gd name="T34" fmla="*/ 1722 w 3843"/>
                  <a:gd name="T35" fmla="*/ 208 h 3287"/>
                  <a:gd name="T36" fmla="*/ 131 w 3843"/>
                  <a:gd name="T37" fmla="*/ 0 h 3287"/>
                  <a:gd name="T38" fmla="*/ 456 w 3843"/>
                  <a:gd name="T39" fmla="*/ 0 h 3287"/>
                  <a:gd name="T40" fmla="*/ 1886 w 3843"/>
                  <a:gd name="T41" fmla="*/ 0 h 3287"/>
                  <a:gd name="T42" fmla="*/ 3774 w 3843"/>
                  <a:gd name="T43" fmla="*/ 11 h 3287"/>
                  <a:gd name="T44" fmla="*/ 3843 w 3843"/>
                  <a:gd name="T45" fmla="*/ 117 h 3287"/>
                  <a:gd name="T46" fmla="*/ 3843 w 3843"/>
                  <a:gd name="T47" fmla="*/ 127 h 3287"/>
                  <a:gd name="T48" fmla="*/ 3843 w 3843"/>
                  <a:gd name="T49" fmla="*/ 270 h 3287"/>
                  <a:gd name="T50" fmla="*/ 3843 w 3843"/>
                  <a:gd name="T51" fmla="*/ 633 h 3287"/>
                  <a:gd name="T52" fmla="*/ 3843 w 3843"/>
                  <a:gd name="T53" fmla="*/ 1340 h 3287"/>
                  <a:gd name="T54" fmla="*/ 3843 w 3843"/>
                  <a:gd name="T55" fmla="*/ 2007 h 3287"/>
                  <a:gd name="T56" fmla="*/ 3830 w 3843"/>
                  <a:gd name="T57" fmla="*/ 2743 h 3287"/>
                  <a:gd name="T58" fmla="*/ 3720 w 3843"/>
                  <a:gd name="T59" fmla="*/ 2811 h 3287"/>
                  <a:gd name="T60" fmla="*/ 3701 w 3843"/>
                  <a:gd name="T61" fmla="*/ 2811 h 3287"/>
                  <a:gd name="T62" fmla="*/ 3489 w 3843"/>
                  <a:gd name="T63" fmla="*/ 2811 h 3287"/>
                  <a:gd name="T64" fmla="*/ 3118 w 3843"/>
                  <a:gd name="T65" fmla="*/ 2811 h 3287"/>
                  <a:gd name="T66" fmla="*/ 2608 w 3843"/>
                  <a:gd name="T67" fmla="*/ 2815 h 3287"/>
                  <a:gd name="T68" fmla="*/ 2622 w 3843"/>
                  <a:gd name="T69" fmla="*/ 2938 h 3287"/>
                  <a:gd name="T70" fmla="*/ 2694 w 3843"/>
                  <a:gd name="T71" fmla="*/ 3043 h 3287"/>
                  <a:gd name="T72" fmla="*/ 2816 w 3843"/>
                  <a:gd name="T73" fmla="*/ 3066 h 3287"/>
                  <a:gd name="T74" fmla="*/ 2836 w 3843"/>
                  <a:gd name="T75" fmla="*/ 3067 h 3287"/>
                  <a:gd name="T76" fmla="*/ 2919 w 3843"/>
                  <a:gd name="T77" fmla="*/ 3153 h 3287"/>
                  <a:gd name="T78" fmla="*/ 2916 w 3843"/>
                  <a:gd name="T79" fmla="*/ 3224 h 3287"/>
                  <a:gd name="T80" fmla="*/ 2836 w 3843"/>
                  <a:gd name="T81" fmla="*/ 3287 h 3287"/>
                  <a:gd name="T82" fmla="*/ 2209 w 3843"/>
                  <a:gd name="T83" fmla="*/ 3287 h 3287"/>
                  <a:gd name="T84" fmla="*/ 1031 w 3843"/>
                  <a:gd name="T85" fmla="*/ 3285 h 3287"/>
                  <a:gd name="T86" fmla="*/ 971 w 3843"/>
                  <a:gd name="T87" fmla="*/ 3201 h 3287"/>
                  <a:gd name="T88" fmla="*/ 981 w 3843"/>
                  <a:gd name="T89" fmla="*/ 3110 h 3287"/>
                  <a:gd name="T90" fmla="*/ 1093 w 3843"/>
                  <a:gd name="T91" fmla="*/ 3062 h 3287"/>
                  <a:gd name="T92" fmla="*/ 1222 w 3843"/>
                  <a:gd name="T93" fmla="*/ 3039 h 3287"/>
                  <a:gd name="T94" fmla="*/ 1293 w 3843"/>
                  <a:gd name="T95" fmla="*/ 2938 h 3287"/>
                  <a:gd name="T96" fmla="*/ 1310 w 3843"/>
                  <a:gd name="T97" fmla="*/ 2815 h 3287"/>
                  <a:gd name="T98" fmla="*/ 1291 w 3843"/>
                  <a:gd name="T99" fmla="*/ 2811 h 3287"/>
                  <a:gd name="T100" fmla="*/ 1162 w 3843"/>
                  <a:gd name="T101" fmla="*/ 2811 h 3287"/>
                  <a:gd name="T102" fmla="*/ 812 w 3843"/>
                  <a:gd name="T103" fmla="*/ 2811 h 3287"/>
                  <a:gd name="T104" fmla="*/ 100 w 3843"/>
                  <a:gd name="T105" fmla="*/ 2808 h 3287"/>
                  <a:gd name="T106" fmla="*/ 0 w 3843"/>
                  <a:gd name="T107" fmla="*/ 2689 h 3287"/>
                  <a:gd name="T108" fmla="*/ 0 w 3843"/>
                  <a:gd name="T109" fmla="*/ 2682 h 3287"/>
                  <a:gd name="T110" fmla="*/ 0 w 3843"/>
                  <a:gd name="T111" fmla="*/ 2563 h 3287"/>
                  <a:gd name="T112" fmla="*/ 0 w 3843"/>
                  <a:gd name="T113" fmla="*/ 2234 h 3287"/>
                  <a:gd name="T114" fmla="*/ 0 w 3843"/>
                  <a:gd name="T115" fmla="*/ 1533 h 3287"/>
                  <a:gd name="T116" fmla="*/ 0 w 3843"/>
                  <a:gd name="T117" fmla="*/ 949 h 3287"/>
                  <a:gd name="T118" fmla="*/ 3 w 3843"/>
                  <a:gd name="T119" fmla="*/ 89 h 3287"/>
                  <a:gd name="T120" fmla="*/ 131 w 3843"/>
                  <a:gd name="T121" fmla="*/ 0 h 3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43" h="3287">
                    <a:moveTo>
                      <a:pt x="915" y="208"/>
                    </a:moveTo>
                    <a:lnTo>
                      <a:pt x="729" y="208"/>
                    </a:lnTo>
                    <a:lnTo>
                      <a:pt x="331" y="208"/>
                    </a:lnTo>
                    <a:lnTo>
                      <a:pt x="306" y="211"/>
                    </a:lnTo>
                    <a:lnTo>
                      <a:pt x="284" y="218"/>
                    </a:lnTo>
                    <a:lnTo>
                      <a:pt x="265" y="229"/>
                    </a:lnTo>
                    <a:lnTo>
                      <a:pt x="248" y="246"/>
                    </a:lnTo>
                    <a:lnTo>
                      <a:pt x="235" y="264"/>
                    </a:lnTo>
                    <a:lnTo>
                      <a:pt x="227" y="286"/>
                    </a:lnTo>
                    <a:lnTo>
                      <a:pt x="225" y="310"/>
                    </a:lnTo>
                    <a:lnTo>
                      <a:pt x="225" y="311"/>
                    </a:lnTo>
                    <a:lnTo>
                      <a:pt x="225" y="311"/>
                    </a:lnTo>
                    <a:lnTo>
                      <a:pt x="225" y="324"/>
                    </a:lnTo>
                    <a:lnTo>
                      <a:pt x="225" y="331"/>
                    </a:lnTo>
                    <a:lnTo>
                      <a:pt x="225" y="339"/>
                    </a:lnTo>
                    <a:lnTo>
                      <a:pt x="225" y="584"/>
                    </a:lnTo>
                    <a:lnTo>
                      <a:pt x="225" y="629"/>
                    </a:lnTo>
                    <a:lnTo>
                      <a:pt x="225" y="679"/>
                    </a:lnTo>
                    <a:lnTo>
                      <a:pt x="225" y="734"/>
                    </a:lnTo>
                    <a:lnTo>
                      <a:pt x="225" y="795"/>
                    </a:lnTo>
                    <a:lnTo>
                      <a:pt x="225" y="861"/>
                    </a:lnTo>
                    <a:lnTo>
                      <a:pt x="225" y="932"/>
                    </a:lnTo>
                    <a:lnTo>
                      <a:pt x="225" y="1615"/>
                    </a:lnTo>
                    <a:lnTo>
                      <a:pt x="225" y="1741"/>
                    </a:lnTo>
                    <a:lnTo>
                      <a:pt x="225" y="1875"/>
                    </a:lnTo>
                    <a:lnTo>
                      <a:pt x="225" y="2018"/>
                    </a:lnTo>
                    <a:lnTo>
                      <a:pt x="225" y="2169"/>
                    </a:lnTo>
                    <a:lnTo>
                      <a:pt x="225" y="2328"/>
                    </a:lnTo>
                    <a:lnTo>
                      <a:pt x="225" y="2495"/>
                    </a:lnTo>
                    <a:lnTo>
                      <a:pt x="227" y="2520"/>
                    </a:lnTo>
                    <a:lnTo>
                      <a:pt x="235" y="2542"/>
                    </a:lnTo>
                    <a:lnTo>
                      <a:pt x="248" y="2561"/>
                    </a:lnTo>
                    <a:lnTo>
                      <a:pt x="265" y="2576"/>
                    </a:lnTo>
                    <a:lnTo>
                      <a:pt x="284" y="2589"/>
                    </a:lnTo>
                    <a:lnTo>
                      <a:pt x="306" y="2596"/>
                    </a:lnTo>
                    <a:lnTo>
                      <a:pt x="331" y="2598"/>
                    </a:lnTo>
                    <a:lnTo>
                      <a:pt x="332" y="2598"/>
                    </a:lnTo>
                    <a:lnTo>
                      <a:pt x="332" y="2598"/>
                    </a:lnTo>
                    <a:lnTo>
                      <a:pt x="333" y="2598"/>
                    </a:lnTo>
                    <a:lnTo>
                      <a:pt x="336" y="2598"/>
                    </a:lnTo>
                    <a:lnTo>
                      <a:pt x="388" y="2598"/>
                    </a:lnTo>
                    <a:lnTo>
                      <a:pt x="403" y="2598"/>
                    </a:lnTo>
                    <a:lnTo>
                      <a:pt x="421" y="2598"/>
                    </a:lnTo>
                    <a:lnTo>
                      <a:pt x="465" y="2598"/>
                    </a:lnTo>
                    <a:lnTo>
                      <a:pt x="492" y="2598"/>
                    </a:lnTo>
                    <a:lnTo>
                      <a:pt x="522" y="2598"/>
                    </a:lnTo>
                    <a:lnTo>
                      <a:pt x="842" y="2598"/>
                    </a:lnTo>
                    <a:lnTo>
                      <a:pt x="907" y="2598"/>
                    </a:lnTo>
                    <a:lnTo>
                      <a:pt x="976" y="2598"/>
                    </a:lnTo>
                    <a:lnTo>
                      <a:pt x="1050" y="2598"/>
                    </a:lnTo>
                    <a:lnTo>
                      <a:pt x="1307" y="2598"/>
                    </a:lnTo>
                    <a:lnTo>
                      <a:pt x="1404" y="2598"/>
                    </a:lnTo>
                    <a:lnTo>
                      <a:pt x="1508" y="2598"/>
                    </a:lnTo>
                    <a:lnTo>
                      <a:pt x="1618" y="2598"/>
                    </a:lnTo>
                    <a:lnTo>
                      <a:pt x="1735" y="2598"/>
                    </a:lnTo>
                    <a:lnTo>
                      <a:pt x="1860" y="2598"/>
                    </a:lnTo>
                    <a:lnTo>
                      <a:pt x="1990" y="2598"/>
                    </a:lnTo>
                    <a:lnTo>
                      <a:pt x="2128" y="2598"/>
                    </a:lnTo>
                    <a:lnTo>
                      <a:pt x="2273" y="2598"/>
                    </a:lnTo>
                    <a:lnTo>
                      <a:pt x="2427" y="2598"/>
                    </a:lnTo>
                    <a:lnTo>
                      <a:pt x="2588" y="2598"/>
                    </a:lnTo>
                    <a:lnTo>
                      <a:pt x="2758" y="2598"/>
                    </a:lnTo>
                    <a:lnTo>
                      <a:pt x="2935" y="2598"/>
                    </a:lnTo>
                    <a:lnTo>
                      <a:pt x="3120" y="2598"/>
                    </a:lnTo>
                    <a:lnTo>
                      <a:pt x="3519" y="2598"/>
                    </a:lnTo>
                    <a:lnTo>
                      <a:pt x="3542" y="2596"/>
                    </a:lnTo>
                    <a:lnTo>
                      <a:pt x="3563" y="2589"/>
                    </a:lnTo>
                    <a:lnTo>
                      <a:pt x="3583" y="2576"/>
                    </a:lnTo>
                    <a:lnTo>
                      <a:pt x="3598" y="2561"/>
                    </a:lnTo>
                    <a:lnTo>
                      <a:pt x="3611" y="2542"/>
                    </a:lnTo>
                    <a:lnTo>
                      <a:pt x="3619" y="2520"/>
                    </a:lnTo>
                    <a:lnTo>
                      <a:pt x="3621" y="2495"/>
                    </a:lnTo>
                    <a:lnTo>
                      <a:pt x="3621" y="2495"/>
                    </a:lnTo>
                    <a:lnTo>
                      <a:pt x="3621" y="2495"/>
                    </a:lnTo>
                    <a:lnTo>
                      <a:pt x="3621" y="2483"/>
                    </a:lnTo>
                    <a:lnTo>
                      <a:pt x="3621" y="2476"/>
                    </a:lnTo>
                    <a:lnTo>
                      <a:pt x="3621" y="2466"/>
                    </a:lnTo>
                    <a:lnTo>
                      <a:pt x="3621" y="2223"/>
                    </a:lnTo>
                    <a:lnTo>
                      <a:pt x="3621" y="2177"/>
                    </a:lnTo>
                    <a:lnTo>
                      <a:pt x="3621" y="2127"/>
                    </a:lnTo>
                    <a:lnTo>
                      <a:pt x="3621" y="2071"/>
                    </a:lnTo>
                    <a:lnTo>
                      <a:pt x="3621" y="2012"/>
                    </a:lnTo>
                    <a:lnTo>
                      <a:pt x="3621" y="1945"/>
                    </a:lnTo>
                    <a:lnTo>
                      <a:pt x="3621" y="1873"/>
                    </a:lnTo>
                    <a:lnTo>
                      <a:pt x="3621" y="1191"/>
                    </a:lnTo>
                    <a:lnTo>
                      <a:pt x="3621" y="1064"/>
                    </a:lnTo>
                    <a:lnTo>
                      <a:pt x="3621" y="930"/>
                    </a:lnTo>
                    <a:lnTo>
                      <a:pt x="3621" y="788"/>
                    </a:lnTo>
                    <a:lnTo>
                      <a:pt x="3621" y="637"/>
                    </a:lnTo>
                    <a:lnTo>
                      <a:pt x="3621" y="479"/>
                    </a:lnTo>
                    <a:lnTo>
                      <a:pt x="3621" y="310"/>
                    </a:lnTo>
                    <a:lnTo>
                      <a:pt x="3619" y="286"/>
                    </a:lnTo>
                    <a:lnTo>
                      <a:pt x="3611" y="264"/>
                    </a:lnTo>
                    <a:lnTo>
                      <a:pt x="3598" y="246"/>
                    </a:lnTo>
                    <a:lnTo>
                      <a:pt x="3583" y="229"/>
                    </a:lnTo>
                    <a:lnTo>
                      <a:pt x="3563" y="218"/>
                    </a:lnTo>
                    <a:lnTo>
                      <a:pt x="3542" y="211"/>
                    </a:lnTo>
                    <a:lnTo>
                      <a:pt x="3519" y="208"/>
                    </a:lnTo>
                    <a:lnTo>
                      <a:pt x="3519" y="208"/>
                    </a:lnTo>
                    <a:lnTo>
                      <a:pt x="3518" y="208"/>
                    </a:lnTo>
                    <a:lnTo>
                      <a:pt x="3517" y="208"/>
                    </a:lnTo>
                    <a:lnTo>
                      <a:pt x="3007" y="208"/>
                    </a:lnTo>
                    <a:lnTo>
                      <a:pt x="2943" y="208"/>
                    </a:lnTo>
                    <a:lnTo>
                      <a:pt x="2875" y="208"/>
                    </a:lnTo>
                    <a:lnTo>
                      <a:pt x="2800" y="208"/>
                    </a:lnTo>
                    <a:lnTo>
                      <a:pt x="2544" y="208"/>
                    </a:lnTo>
                    <a:lnTo>
                      <a:pt x="2446" y="208"/>
                    </a:lnTo>
                    <a:lnTo>
                      <a:pt x="1722" y="208"/>
                    </a:lnTo>
                    <a:lnTo>
                      <a:pt x="1577" y="208"/>
                    </a:lnTo>
                    <a:lnTo>
                      <a:pt x="1423" y="208"/>
                    </a:lnTo>
                    <a:lnTo>
                      <a:pt x="1262" y="208"/>
                    </a:lnTo>
                    <a:lnTo>
                      <a:pt x="1093" y="208"/>
                    </a:lnTo>
                    <a:lnTo>
                      <a:pt x="915" y="208"/>
                    </a:lnTo>
                    <a:close/>
                    <a:moveTo>
                      <a:pt x="131" y="0"/>
                    </a:moveTo>
                    <a:lnTo>
                      <a:pt x="197" y="0"/>
                    </a:lnTo>
                    <a:lnTo>
                      <a:pt x="214" y="0"/>
                    </a:lnTo>
                    <a:lnTo>
                      <a:pt x="233" y="0"/>
                    </a:lnTo>
                    <a:lnTo>
                      <a:pt x="374" y="0"/>
                    </a:lnTo>
                    <a:lnTo>
                      <a:pt x="412" y="0"/>
                    </a:lnTo>
                    <a:lnTo>
                      <a:pt x="456" y="0"/>
                    </a:lnTo>
                    <a:lnTo>
                      <a:pt x="800" y="0"/>
                    </a:lnTo>
                    <a:lnTo>
                      <a:pt x="874" y="0"/>
                    </a:lnTo>
                    <a:lnTo>
                      <a:pt x="954" y="0"/>
                    </a:lnTo>
                    <a:lnTo>
                      <a:pt x="1727" y="0"/>
                    </a:lnTo>
                    <a:lnTo>
                      <a:pt x="1805" y="0"/>
                    </a:lnTo>
                    <a:lnTo>
                      <a:pt x="1886" y="0"/>
                    </a:lnTo>
                    <a:lnTo>
                      <a:pt x="1997" y="0"/>
                    </a:lnTo>
                    <a:lnTo>
                      <a:pt x="2083" y="0"/>
                    </a:lnTo>
                    <a:lnTo>
                      <a:pt x="2234" y="0"/>
                    </a:lnTo>
                    <a:lnTo>
                      <a:pt x="3720" y="0"/>
                    </a:lnTo>
                    <a:lnTo>
                      <a:pt x="3748" y="2"/>
                    </a:lnTo>
                    <a:lnTo>
                      <a:pt x="3774" y="11"/>
                    </a:lnTo>
                    <a:lnTo>
                      <a:pt x="3796" y="24"/>
                    </a:lnTo>
                    <a:lnTo>
                      <a:pt x="3815" y="43"/>
                    </a:lnTo>
                    <a:lnTo>
                      <a:pt x="3830" y="65"/>
                    </a:lnTo>
                    <a:lnTo>
                      <a:pt x="3839" y="89"/>
                    </a:lnTo>
                    <a:lnTo>
                      <a:pt x="3843" y="117"/>
                    </a:lnTo>
                    <a:lnTo>
                      <a:pt x="3843" y="117"/>
                    </a:lnTo>
                    <a:lnTo>
                      <a:pt x="3843" y="117"/>
                    </a:lnTo>
                    <a:lnTo>
                      <a:pt x="3843" y="119"/>
                    </a:lnTo>
                    <a:lnTo>
                      <a:pt x="3843" y="120"/>
                    </a:lnTo>
                    <a:lnTo>
                      <a:pt x="3843" y="122"/>
                    </a:lnTo>
                    <a:lnTo>
                      <a:pt x="3843" y="124"/>
                    </a:lnTo>
                    <a:lnTo>
                      <a:pt x="3843" y="127"/>
                    </a:lnTo>
                    <a:lnTo>
                      <a:pt x="3843" y="130"/>
                    </a:lnTo>
                    <a:lnTo>
                      <a:pt x="3843" y="136"/>
                    </a:lnTo>
                    <a:lnTo>
                      <a:pt x="3843" y="144"/>
                    </a:lnTo>
                    <a:lnTo>
                      <a:pt x="3843" y="150"/>
                    </a:lnTo>
                    <a:lnTo>
                      <a:pt x="3843" y="243"/>
                    </a:lnTo>
                    <a:lnTo>
                      <a:pt x="3843" y="270"/>
                    </a:lnTo>
                    <a:lnTo>
                      <a:pt x="3843" y="300"/>
                    </a:lnTo>
                    <a:lnTo>
                      <a:pt x="3843" y="335"/>
                    </a:lnTo>
                    <a:lnTo>
                      <a:pt x="3843" y="373"/>
                    </a:lnTo>
                    <a:lnTo>
                      <a:pt x="3843" y="416"/>
                    </a:lnTo>
                    <a:lnTo>
                      <a:pt x="3843" y="571"/>
                    </a:lnTo>
                    <a:lnTo>
                      <a:pt x="3843" y="633"/>
                    </a:lnTo>
                    <a:lnTo>
                      <a:pt x="3843" y="700"/>
                    </a:lnTo>
                    <a:lnTo>
                      <a:pt x="3843" y="774"/>
                    </a:lnTo>
                    <a:lnTo>
                      <a:pt x="3843" y="852"/>
                    </a:lnTo>
                    <a:lnTo>
                      <a:pt x="3843" y="937"/>
                    </a:lnTo>
                    <a:lnTo>
                      <a:pt x="3843" y="1274"/>
                    </a:lnTo>
                    <a:lnTo>
                      <a:pt x="3843" y="1340"/>
                    </a:lnTo>
                    <a:lnTo>
                      <a:pt x="3843" y="1458"/>
                    </a:lnTo>
                    <a:lnTo>
                      <a:pt x="3843" y="1584"/>
                    </a:lnTo>
                    <a:lnTo>
                      <a:pt x="3843" y="1664"/>
                    </a:lnTo>
                    <a:lnTo>
                      <a:pt x="3843" y="1774"/>
                    </a:lnTo>
                    <a:lnTo>
                      <a:pt x="3843" y="1858"/>
                    </a:lnTo>
                    <a:lnTo>
                      <a:pt x="3843" y="2007"/>
                    </a:lnTo>
                    <a:lnTo>
                      <a:pt x="3843" y="2164"/>
                    </a:lnTo>
                    <a:lnTo>
                      <a:pt x="3843" y="2331"/>
                    </a:lnTo>
                    <a:lnTo>
                      <a:pt x="3843" y="2505"/>
                    </a:lnTo>
                    <a:lnTo>
                      <a:pt x="3843" y="2689"/>
                    </a:lnTo>
                    <a:lnTo>
                      <a:pt x="3839" y="2717"/>
                    </a:lnTo>
                    <a:lnTo>
                      <a:pt x="3830" y="2743"/>
                    </a:lnTo>
                    <a:lnTo>
                      <a:pt x="3815" y="2765"/>
                    </a:lnTo>
                    <a:lnTo>
                      <a:pt x="3796" y="2783"/>
                    </a:lnTo>
                    <a:lnTo>
                      <a:pt x="3774" y="2799"/>
                    </a:lnTo>
                    <a:lnTo>
                      <a:pt x="3748" y="2808"/>
                    </a:lnTo>
                    <a:lnTo>
                      <a:pt x="3720" y="2811"/>
                    </a:lnTo>
                    <a:lnTo>
                      <a:pt x="3720" y="2811"/>
                    </a:lnTo>
                    <a:lnTo>
                      <a:pt x="3719" y="2811"/>
                    </a:lnTo>
                    <a:lnTo>
                      <a:pt x="3718" y="2811"/>
                    </a:lnTo>
                    <a:lnTo>
                      <a:pt x="3717" y="2811"/>
                    </a:lnTo>
                    <a:lnTo>
                      <a:pt x="3713" y="2811"/>
                    </a:lnTo>
                    <a:lnTo>
                      <a:pt x="3708" y="2811"/>
                    </a:lnTo>
                    <a:lnTo>
                      <a:pt x="3701" y="2811"/>
                    </a:lnTo>
                    <a:lnTo>
                      <a:pt x="3679" y="2811"/>
                    </a:lnTo>
                    <a:lnTo>
                      <a:pt x="3663" y="2811"/>
                    </a:lnTo>
                    <a:lnTo>
                      <a:pt x="3645" y="2811"/>
                    </a:lnTo>
                    <a:lnTo>
                      <a:pt x="3566" y="2811"/>
                    </a:lnTo>
                    <a:lnTo>
                      <a:pt x="3529" y="2811"/>
                    </a:lnTo>
                    <a:lnTo>
                      <a:pt x="3489" y="2811"/>
                    </a:lnTo>
                    <a:lnTo>
                      <a:pt x="3442" y="2811"/>
                    </a:lnTo>
                    <a:lnTo>
                      <a:pt x="3391" y="2811"/>
                    </a:lnTo>
                    <a:lnTo>
                      <a:pt x="3332" y="2811"/>
                    </a:lnTo>
                    <a:lnTo>
                      <a:pt x="3268" y="2811"/>
                    </a:lnTo>
                    <a:lnTo>
                      <a:pt x="3196" y="2811"/>
                    </a:lnTo>
                    <a:lnTo>
                      <a:pt x="3118" y="2811"/>
                    </a:lnTo>
                    <a:lnTo>
                      <a:pt x="3032" y="2811"/>
                    </a:lnTo>
                    <a:lnTo>
                      <a:pt x="2939" y="2811"/>
                    </a:lnTo>
                    <a:lnTo>
                      <a:pt x="2837" y="2811"/>
                    </a:lnTo>
                    <a:lnTo>
                      <a:pt x="2727" y="2811"/>
                    </a:lnTo>
                    <a:lnTo>
                      <a:pt x="2608" y="2811"/>
                    </a:lnTo>
                    <a:lnTo>
                      <a:pt x="2608" y="2815"/>
                    </a:lnTo>
                    <a:lnTo>
                      <a:pt x="2609" y="2827"/>
                    </a:lnTo>
                    <a:lnTo>
                      <a:pt x="2610" y="2843"/>
                    </a:lnTo>
                    <a:lnTo>
                      <a:pt x="2612" y="2865"/>
                    </a:lnTo>
                    <a:lnTo>
                      <a:pt x="2615" y="2888"/>
                    </a:lnTo>
                    <a:lnTo>
                      <a:pt x="2618" y="2914"/>
                    </a:lnTo>
                    <a:lnTo>
                      <a:pt x="2622" y="2938"/>
                    </a:lnTo>
                    <a:lnTo>
                      <a:pt x="2626" y="2962"/>
                    </a:lnTo>
                    <a:lnTo>
                      <a:pt x="2632" y="2982"/>
                    </a:lnTo>
                    <a:lnTo>
                      <a:pt x="2639" y="2996"/>
                    </a:lnTo>
                    <a:lnTo>
                      <a:pt x="2655" y="3017"/>
                    </a:lnTo>
                    <a:lnTo>
                      <a:pt x="2674" y="3032"/>
                    </a:lnTo>
                    <a:lnTo>
                      <a:pt x="2694" y="3043"/>
                    </a:lnTo>
                    <a:lnTo>
                      <a:pt x="2716" y="3052"/>
                    </a:lnTo>
                    <a:lnTo>
                      <a:pt x="2738" y="3059"/>
                    </a:lnTo>
                    <a:lnTo>
                      <a:pt x="2760" y="3062"/>
                    </a:lnTo>
                    <a:lnTo>
                      <a:pt x="2781" y="3064"/>
                    </a:lnTo>
                    <a:lnTo>
                      <a:pt x="2800" y="3066"/>
                    </a:lnTo>
                    <a:lnTo>
                      <a:pt x="2816" y="3066"/>
                    </a:lnTo>
                    <a:lnTo>
                      <a:pt x="2829" y="3067"/>
                    </a:lnTo>
                    <a:lnTo>
                      <a:pt x="2829" y="3067"/>
                    </a:lnTo>
                    <a:lnTo>
                      <a:pt x="2829" y="3067"/>
                    </a:lnTo>
                    <a:lnTo>
                      <a:pt x="2830" y="3067"/>
                    </a:lnTo>
                    <a:lnTo>
                      <a:pt x="2833" y="3067"/>
                    </a:lnTo>
                    <a:lnTo>
                      <a:pt x="2836" y="3067"/>
                    </a:lnTo>
                    <a:lnTo>
                      <a:pt x="2857" y="3070"/>
                    </a:lnTo>
                    <a:lnTo>
                      <a:pt x="2877" y="3078"/>
                    </a:lnTo>
                    <a:lnTo>
                      <a:pt x="2894" y="3092"/>
                    </a:lnTo>
                    <a:lnTo>
                      <a:pt x="2907" y="3110"/>
                    </a:lnTo>
                    <a:lnTo>
                      <a:pt x="2916" y="3131"/>
                    </a:lnTo>
                    <a:lnTo>
                      <a:pt x="2919" y="3153"/>
                    </a:lnTo>
                    <a:lnTo>
                      <a:pt x="2919" y="3154"/>
                    </a:lnTo>
                    <a:lnTo>
                      <a:pt x="2919" y="3155"/>
                    </a:lnTo>
                    <a:lnTo>
                      <a:pt x="2919" y="3167"/>
                    </a:lnTo>
                    <a:lnTo>
                      <a:pt x="2919" y="3181"/>
                    </a:lnTo>
                    <a:lnTo>
                      <a:pt x="2919" y="3201"/>
                    </a:lnTo>
                    <a:lnTo>
                      <a:pt x="2916" y="3224"/>
                    </a:lnTo>
                    <a:lnTo>
                      <a:pt x="2907" y="3244"/>
                    </a:lnTo>
                    <a:lnTo>
                      <a:pt x="2894" y="3261"/>
                    </a:lnTo>
                    <a:lnTo>
                      <a:pt x="2877" y="3275"/>
                    </a:lnTo>
                    <a:lnTo>
                      <a:pt x="2857" y="3285"/>
                    </a:lnTo>
                    <a:lnTo>
                      <a:pt x="2836" y="3287"/>
                    </a:lnTo>
                    <a:lnTo>
                      <a:pt x="2836" y="3287"/>
                    </a:lnTo>
                    <a:lnTo>
                      <a:pt x="2836" y="3287"/>
                    </a:lnTo>
                    <a:lnTo>
                      <a:pt x="2813" y="3287"/>
                    </a:lnTo>
                    <a:lnTo>
                      <a:pt x="2803" y="3287"/>
                    </a:lnTo>
                    <a:lnTo>
                      <a:pt x="2791" y="3287"/>
                    </a:lnTo>
                    <a:lnTo>
                      <a:pt x="2285" y="3287"/>
                    </a:lnTo>
                    <a:lnTo>
                      <a:pt x="2209" y="3287"/>
                    </a:lnTo>
                    <a:lnTo>
                      <a:pt x="2128" y="3287"/>
                    </a:lnTo>
                    <a:lnTo>
                      <a:pt x="2039" y="3287"/>
                    </a:lnTo>
                    <a:lnTo>
                      <a:pt x="1292" y="3287"/>
                    </a:lnTo>
                    <a:lnTo>
                      <a:pt x="1206" y="3287"/>
                    </a:lnTo>
                    <a:lnTo>
                      <a:pt x="1053" y="3287"/>
                    </a:lnTo>
                    <a:lnTo>
                      <a:pt x="1031" y="3285"/>
                    </a:lnTo>
                    <a:lnTo>
                      <a:pt x="1010" y="3275"/>
                    </a:lnTo>
                    <a:lnTo>
                      <a:pt x="994" y="3261"/>
                    </a:lnTo>
                    <a:lnTo>
                      <a:pt x="981" y="3244"/>
                    </a:lnTo>
                    <a:lnTo>
                      <a:pt x="973" y="3224"/>
                    </a:lnTo>
                    <a:lnTo>
                      <a:pt x="971" y="3201"/>
                    </a:lnTo>
                    <a:lnTo>
                      <a:pt x="971" y="3201"/>
                    </a:lnTo>
                    <a:lnTo>
                      <a:pt x="971" y="3198"/>
                    </a:lnTo>
                    <a:lnTo>
                      <a:pt x="971" y="3187"/>
                    </a:lnTo>
                    <a:lnTo>
                      <a:pt x="971" y="3173"/>
                    </a:lnTo>
                    <a:lnTo>
                      <a:pt x="971" y="3153"/>
                    </a:lnTo>
                    <a:lnTo>
                      <a:pt x="973" y="3131"/>
                    </a:lnTo>
                    <a:lnTo>
                      <a:pt x="981" y="3110"/>
                    </a:lnTo>
                    <a:lnTo>
                      <a:pt x="994" y="3092"/>
                    </a:lnTo>
                    <a:lnTo>
                      <a:pt x="1010" y="3078"/>
                    </a:lnTo>
                    <a:lnTo>
                      <a:pt x="1031" y="3070"/>
                    </a:lnTo>
                    <a:lnTo>
                      <a:pt x="1053" y="3067"/>
                    </a:lnTo>
                    <a:lnTo>
                      <a:pt x="1073" y="3067"/>
                    </a:lnTo>
                    <a:lnTo>
                      <a:pt x="1093" y="3062"/>
                    </a:lnTo>
                    <a:lnTo>
                      <a:pt x="1114" y="3059"/>
                    </a:lnTo>
                    <a:lnTo>
                      <a:pt x="1135" y="3056"/>
                    </a:lnTo>
                    <a:lnTo>
                      <a:pt x="1157" y="3054"/>
                    </a:lnTo>
                    <a:lnTo>
                      <a:pt x="1179" y="3050"/>
                    </a:lnTo>
                    <a:lnTo>
                      <a:pt x="1201" y="3046"/>
                    </a:lnTo>
                    <a:lnTo>
                      <a:pt x="1222" y="3039"/>
                    </a:lnTo>
                    <a:lnTo>
                      <a:pt x="1241" y="3028"/>
                    </a:lnTo>
                    <a:lnTo>
                      <a:pt x="1258" y="3014"/>
                    </a:lnTo>
                    <a:lnTo>
                      <a:pt x="1274" y="2996"/>
                    </a:lnTo>
                    <a:lnTo>
                      <a:pt x="1282" y="2982"/>
                    </a:lnTo>
                    <a:lnTo>
                      <a:pt x="1289" y="2962"/>
                    </a:lnTo>
                    <a:lnTo>
                      <a:pt x="1293" y="2938"/>
                    </a:lnTo>
                    <a:lnTo>
                      <a:pt x="1298" y="2914"/>
                    </a:lnTo>
                    <a:lnTo>
                      <a:pt x="1303" y="2888"/>
                    </a:lnTo>
                    <a:lnTo>
                      <a:pt x="1305" y="2865"/>
                    </a:lnTo>
                    <a:lnTo>
                      <a:pt x="1307" y="2843"/>
                    </a:lnTo>
                    <a:lnTo>
                      <a:pt x="1309" y="2827"/>
                    </a:lnTo>
                    <a:lnTo>
                      <a:pt x="1310" y="2815"/>
                    </a:lnTo>
                    <a:lnTo>
                      <a:pt x="1310" y="2811"/>
                    </a:lnTo>
                    <a:lnTo>
                      <a:pt x="1310" y="2811"/>
                    </a:lnTo>
                    <a:lnTo>
                      <a:pt x="1310" y="2811"/>
                    </a:lnTo>
                    <a:lnTo>
                      <a:pt x="1303" y="2811"/>
                    </a:lnTo>
                    <a:lnTo>
                      <a:pt x="1298" y="2811"/>
                    </a:lnTo>
                    <a:lnTo>
                      <a:pt x="1291" y="2811"/>
                    </a:lnTo>
                    <a:lnTo>
                      <a:pt x="1282" y="2811"/>
                    </a:lnTo>
                    <a:lnTo>
                      <a:pt x="1270" y="2811"/>
                    </a:lnTo>
                    <a:lnTo>
                      <a:pt x="1239" y="2811"/>
                    </a:lnTo>
                    <a:lnTo>
                      <a:pt x="1216" y="2811"/>
                    </a:lnTo>
                    <a:lnTo>
                      <a:pt x="1192" y="2811"/>
                    </a:lnTo>
                    <a:lnTo>
                      <a:pt x="1162" y="2811"/>
                    </a:lnTo>
                    <a:lnTo>
                      <a:pt x="1128" y="2811"/>
                    </a:lnTo>
                    <a:lnTo>
                      <a:pt x="1089" y="2811"/>
                    </a:lnTo>
                    <a:lnTo>
                      <a:pt x="996" y="2811"/>
                    </a:lnTo>
                    <a:lnTo>
                      <a:pt x="941" y="2811"/>
                    </a:lnTo>
                    <a:lnTo>
                      <a:pt x="880" y="2811"/>
                    </a:lnTo>
                    <a:lnTo>
                      <a:pt x="812" y="2811"/>
                    </a:lnTo>
                    <a:lnTo>
                      <a:pt x="738" y="2811"/>
                    </a:lnTo>
                    <a:lnTo>
                      <a:pt x="656" y="2811"/>
                    </a:lnTo>
                    <a:lnTo>
                      <a:pt x="366" y="2811"/>
                    </a:lnTo>
                    <a:lnTo>
                      <a:pt x="252" y="2811"/>
                    </a:lnTo>
                    <a:lnTo>
                      <a:pt x="131" y="2811"/>
                    </a:lnTo>
                    <a:lnTo>
                      <a:pt x="100" y="2808"/>
                    </a:lnTo>
                    <a:lnTo>
                      <a:pt x="73" y="2799"/>
                    </a:lnTo>
                    <a:lnTo>
                      <a:pt x="49" y="2783"/>
                    </a:lnTo>
                    <a:lnTo>
                      <a:pt x="29" y="2765"/>
                    </a:lnTo>
                    <a:lnTo>
                      <a:pt x="13" y="2743"/>
                    </a:lnTo>
                    <a:lnTo>
                      <a:pt x="3" y="2717"/>
                    </a:lnTo>
                    <a:lnTo>
                      <a:pt x="0" y="2689"/>
                    </a:lnTo>
                    <a:lnTo>
                      <a:pt x="0" y="2689"/>
                    </a:lnTo>
                    <a:lnTo>
                      <a:pt x="0" y="2689"/>
                    </a:lnTo>
                    <a:lnTo>
                      <a:pt x="0" y="2688"/>
                    </a:lnTo>
                    <a:lnTo>
                      <a:pt x="0" y="2687"/>
                    </a:lnTo>
                    <a:lnTo>
                      <a:pt x="0" y="2684"/>
                    </a:lnTo>
                    <a:lnTo>
                      <a:pt x="0" y="2682"/>
                    </a:lnTo>
                    <a:lnTo>
                      <a:pt x="0" y="2678"/>
                    </a:lnTo>
                    <a:lnTo>
                      <a:pt x="0" y="2676"/>
                    </a:lnTo>
                    <a:lnTo>
                      <a:pt x="0" y="2670"/>
                    </a:lnTo>
                    <a:lnTo>
                      <a:pt x="0" y="2662"/>
                    </a:lnTo>
                    <a:lnTo>
                      <a:pt x="0" y="2655"/>
                    </a:lnTo>
                    <a:lnTo>
                      <a:pt x="0" y="2563"/>
                    </a:lnTo>
                    <a:lnTo>
                      <a:pt x="0" y="2536"/>
                    </a:lnTo>
                    <a:lnTo>
                      <a:pt x="0" y="2506"/>
                    </a:lnTo>
                    <a:lnTo>
                      <a:pt x="0" y="2471"/>
                    </a:lnTo>
                    <a:lnTo>
                      <a:pt x="0" y="2433"/>
                    </a:lnTo>
                    <a:lnTo>
                      <a:pt x="0" y="2391"/>
                    </a:lnTo>
                    <a:lnTo>
                      <a:pt x="0" y="2234"/>
                    </a:lnTo>
                    <a:lnTo>
                      <a:pt x="0" y="2173"/>
                    </a:lnTo>
                    <a:lnTo>
                      <a:pt x="0" y="2106"/>
                    </a:lnTo>
                    <a:lnTo>
                      <a:pt x="0" y="2033"/>
                    </a:lnTo>
                    <a:lnTo>
                      <a:pt x="0" y="1955"/>
                    </a:lnTo>
                    <a:lnTo>
                      <a:pt x="0" y="1869"/>
                    </a:lnTo>
                    <a:lnTo>
                      <a:pt x="0" y="1533"/>
                    </a:lnTo>
                    <a:lnTo>
                      <a:pt x="0" y="1466"/>
                    </a:lnTo>
                    <a:lnTo>
                      <a:pt x="0" y="1348"/>
                    </a:lnTo>
                    <a:lnTo>
                      <a:pt x="0" y="1223"/>
                    </a:lnTo>
                    <a:lnTo>
                      <a:pt x="0" y="1142"/>
                    </a:lnTo>
                    <a:lnTo>
                      <a:pt x="0" y="1032"/>
                    </a:lnTo>
                    <a:lnTo>
                      <a:pt x="0" y="949"/>
                    </a:lnTo>
                    <a:lnTo>
                      <a:pt x="0" y="799"/>
                    </a:lnTo>
                    <a:lnTo>
                      <a:pt x="0" y="642"/>
                    </a:lnTo>
                    <a:lnTo>
                      <a:pt x="0" y="475"/>
                    </a:lnTo>
                    <a:lnTo>
                      <a:pt x="0" y="300"/>
                    </a:lnTo>
                    <a:lnTo>
                      <a:pt x="0" y="117"/>
                    </a:lnTo>
                    <a:lnTo>
                      <a:pt x="3" y="89"/>
                    </a:lnTo>
                    <a:lnTo>
                      <a:pt x="13" y="65"/>
                    </a:lnTo>
                    <a:lnTo>
                      <a:pt x="29" y="43"/>
                    </a:lnTo>
                    <a:lnTo>
                      <a:pt x="49" y="24"/>
                    </a:lnTo>
                    <a:lnTo>
                      <a:pt x="73" y="11"/>
                    </a:lnTo>
                    <a:lnTo>
                      <a:pt x="100" y="2"/>
                    </a:lnTo>
                    <a:lnTo>
                      <a:pt x="131" y="0"/>
                    </a:lnTo>
                    <a:close/>
                  </a:path>
                </a:pathLst>
              </a:custGeom>
              <a:solidFill>
                <a:srgbClr val="3D58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84" name="Freeform 7"/>
              <p:cNvSpPr>
                <a:spLocks noEditPoints="1"/>
              </p:cNvSpPr>
              <p:nvPr/>
            </p:nvSpPr>
            <p:spPr bwMode="auto">
              <a:xfrm>
                <a:off x="1388" y="2982"/>
                <a:ext cx="288" cy="403"/>
              </a:xfrm>
              <a:custGeom>
                <a:avLst/>
                <a:gdLst>
                  <a:gd name="T0" fmla="*/ 949 w 1154"/>
                  <a:gd name="T1" fmla="*/ 378 h 1612"/>
                  <a:gd name="T2" fmla="*/ 1023 w 1154"/>
                  <a:gd name="T3" fmla="*/ 414 h 1612"/>
                  <a:gd name="T4" fmla="*/ 1080 w 1154"/>
                  <a:gd name="T5" fmla="*/ 463 h 1612"/>
                  <a:gd name="T6" fmla="*/ 1113 w 1154"/>
                  <a:gd name="T7" fmla="*/ 503 h 1612"/>
                  <a:gd name="T8" fmla="*/ 1095 w 1154"/>
                  <a:gd name="T9" fmla="*/ 527 h 1612"/>
                  <a:gd name="T10" fmla="*/ 1035 w 1154"/>
                  <a:gd name="T11" fmla="*/ 586 h 1612"/>
                  <a:gd name="T12" fmla="*/ 956 w 1154"/>
                  <a:gd name="T13" fmla="*/ 696 h 1612"/>
                  <a:gd name="T14" fmla="*/ 923 w 1154"/>
                  <a:gd name="T15" fmla="*/ 803 h 1612"/>
                  <a:gd name="T16" fmla="*/ 920 w 1154"/>
                  <a:gd name="T17" fmla="*/ 919 h 1612"/>
                  <a:gd name="T18" fmla="*/ 953 w 1154"/>
                  <a:gd name="T19" fmla="*/ 1025 h 1612"/>
                  <a:gd name="T20" fmla="*/ 1012 w 1154"/>
                  <a:gd name="T21" fmla="*/ 1103 h 1612"/>
                  <a:gd name="T22" fmla="*/ 1071 w 1154"/>
                  <a:gd name="T23" fmla="*/ 1158 h 1612"/>
                  <a:gd name="T24" fmla="*/ 1125 w 1154"/>
                  <a:gd name="T25" fmla="*/ 1194 h 1612"/>
                  <a:gd name="T26" fmla="*/ 1154 w 1154"/>
                  <a:gd name="T27" fmla="*/ 1209 h 1612"/>
                  <a:gd name="T28" fmla="*/ 1139 w 1154"/>
                  <a:gd name="T29" fmla="*/ 1247 h 1612"/>
                  <a:gd name="T30" fmla="*/ 1106 w 1154"/>
                  <a:gd name="T31" fmla="*/ 1323 h 1612"/>
                  <a:gd name="T32" fmla="*/ 1051 w 1154"/>
                  <a:gd name="T33" fmla="*/ 1427 h 1612"/>
                  <a:gd name="T34" fmla="*/ 954 w 1154"/>
                  <a:gd name="T35" fmla="*/ 1560 h 1612"/>
                  <a:gd name="T36" fmla="*/ 897 w 1154"/>
                  <a:gd name="T37" fmla="*/ 1604 h 1612"/>
                  <a:gd name="T38" fmla="*/ 837 w 1154"/>
                  <a:gd name="T39" fmla="*/ 1610 h 1612"/>
                  <a:gd name="T40" fmla="*/ 784 w 1154"/>
                  <a:gd name="T41" fmla="*/ 1599 h 1612"/>
                  <a:gd name="T42" fmla="*/ 728 w 1154"/>
                  <a:gd name="T43" fmla="*/ 1574 h 1612"/>
                  <a:gd name="T44" fmla="*/ 693 w 1154"/>
                  <a:gd name="T45" fmla="*/ 1552 h 1612"/>
                  <a:gd name="T46" fmla="*/ 634 w 1154"/>
                  <a:gd name="T47" fmla="*/ 1534 h 1612"/>
                  <a:gd name="T48" fmla="*/ 550 w 1154"/>
                  <a:gd name="T49" fmla="*/ 1538 h 1612"/>
                  <a:gd name="T50" fmla="*/ 469 w 1154"/>
                  <a:gd name="T51" fmla="*/ 1566 h 1612"/>
                  <a:gd name="T52" fmla="*/ 419 w 1154"/>
                  <a:gd name="T53" fmla="*/ 1592 h 1612"/>
                  <a:gd name="T54" fmla="*/ 367 w 1154"/>
                  <a:gd name="T55" fmla="*/ 1603 h 1612"/>
                  <a:gd name="T56" fmla="*/ 296 w 1154"/>
                  <a:gd name="T57" fmla="*/ 1580 h 1612"/>
                  <a:gd name="T58" fmla="*/ 232 w 1154"/>
                  <a:gd name="T59" fmla="*/ 1528 h 1612"/>
                  <a:gd name="T60" fmla="*/ 159 w 1154"/>
                  <a:gd name="T61" fmla="*/ 1435 h 1612"/>
                  <a:gd name="T62" fmla="*/ 92 w 1154"/>
                  <a:gd name="T63" fmla="*/ 1315 h 1612"/>
                  <a:gd name="T64" fmla="*/ 39 w 1154"/>
                  <a:gd name="T65" fmla="*/ 1168 h 1612"/>
                  <a:gd name="T66" fmla="*/ 1 w 1154"/>
                  <a:gd name="T67" fmla="*/ 934 h 1612"/>
                  <a:gd name="T68" fmla="*/ 20 w 1154"/>
                  <a:gd name="T69" fmla="*/ 708 h 1612"/>
                  <a:gd name="T70" fmla="*/ 70 w 1154"/>
                  <a:gd name="T71" fmla="*/ 581 h 1612"/>
                  <a:gd name="T72" fmla="*/ 125 w 1154"/>
                  <a:gd name="T73" fmla="*/ 505 h 1612"/>
                  <a:gd name="T74" fmla="*/ 206 w 1154"/>
                  <a:gd name="T75" fmla="*/ 431 h 1612"/>
                  <a:gd name="T76" fmla="*/ 286 w 1154"/>
                  <a:gd name="T77" fmla="*/ 392 h 1612"/>
                  <a:gd name="T78" fmla="*/ 378 w 1154"/>
                  <a:gd name="T79" fmla="*/ 386 h 1612"/>
                  <a:gd name="T80" fmla="*/ 480 w 1154"/>
                  <a:gd name="T81" fmla="*/ 419 h 1612"/>
                  <a:gd name="T82" fmla="*/ 569 w 1154"/>
                  <a:gd name="T83" fmla="*/ 448 h 1612"/>
                  <a:gd name="T84" fmla="*/ 640 w 1154"/>
                  <a:gd name="T85" fmla="*/ 443 h 1612"/>
                  <a:gd name="T86" fmla="*/ 693 w 1154"/>
                  <a:gd name="T87" fmla="*/ 420 h 1612"/>
                  <a:gd name="T88" fmla="*/ 783 w 1154"/>
                  <a:gd name="T89" fmla="*/ 386 h 1612"/>
                  <a:gd name="T90" fmla="*/ 887 w 1154"/>
                  <a:gd name="T91" fmla="*/ 368 h 1612"/>
                  <a:gd name="T92" fmla="*/ 882 w 1154"/>
                  <a:gd name="T93" fmla="*/ 36 h 1612"/>
                  <a:gd name="T94" fmla="*/ 867 w 1154"/>
                  <a:gd name="T95" fmla="*/ 121 h 1612"/>
                  <a:gd name="T96" fmla="*/ 847 w 1154"/>
                  <a:gd name="T97" fmla="*/ 175 h 1612"/>
                  <a:gd name="T98" fmla="*/ 805 w 1154"/>
                  <a:gd name="T99" fmla="*/ 232 h 1612"/>
                  <a:gd name="T100" fmla="*/ 742 w 1154"/>
                  <a:gd name="T101" fmla="*/ 286 h 1612"/>
                  <a:gd name="T102" fmla="*/ 673 w 1154"/>
                  <a:gd name="T103" fmla="*/ 324 h 1612"/>
                  <a:gd name="T104" fmla="*/ 571 w 1154"/>
                  <a:gd name="T105" fmla="*/ 347 h 1612"/>
                  <a:gd name="T106" fmla="*/ 565 w 1154"/>
                  <a:gd name="T107" fmla="*/ 349 h 1612"/>
                  <a:gd name="T108" fmla="*/ 558 w 1154"/>
                  <a:gd name="T109" fmla="*/ 333 h 1612"/>
                  <a:gd name="T110" fmla="*/ 554 w 1154"/>
                  <a:gd name="T111" fmla="*/ 287 h 1612"/>
                  <a:gd name="T112" fmla="*/ 580 w 1154"/>
                  <a:gd name="T113" fmla="*/ 225 h 1612"/>
                  <a:gd name="T114" fmla="*/ 625 w 1154"/>
                  <a:gd name="T115" fmla="*/ 159 h 1612"/>
                  <a:gd name="T116" fmla="*/ 668 w 1154"/>
                  <a:gd name="T117" fmla="*/ 107 h 1612"/>
                  <a:gd name="T118" fmla="*/ 760 w 1154"/>
                  <a:gd name="T119" fmla="*/ 40 h 1612"/>
                  <a:gd name="T120" fmla="*/ 821 w 1154"/>
                  <a:gd name="T121" fmla="*/ 18 h 1612"/>
                  <a:gd name="T122" fmla="*/ 882 w 1154"/>
                  <a:gd name="T123" fmla="*/ 0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4" h="1612">
                    <a:moveTo>
                      <a:pt x="887" y="368"/>
                    </a:moveTo>
                    <a:lnTo>
                      <a:pt x="918" y="372"/>
                    </a:lnTo>
                    <a:lnTo>
                      <a:pt x="949" y="378"/>
                    </a:lnTo>
                    <a:lnTo>
                      <a:pt x="973" y="386"/>
                    </a:lnTo>
                    <a:lnTo>
                      <a:pt x="1000" y="399"/>
                    </a:lnTo>
                    <a:lnTo>
                      <a:pt x="1023" y="414"/>
                    </a:lnTo>
                    <a:lnTo>
                      <a:pt x="1047" y="430"/>
                    </a:lnTo>
                    <a:lnTo>
                      <a:pt x="1064" y="445"/>
                    </a:lnTo>
                    <a:lnTo>
                      <a:pt x="1080" y="463"/>
                    </a:lnTo>
                    <a:lnTo>
                      <a:pt x="1094" y="478"/>
                    </a:lnTo>
                    <a:lnTo>
                      <a:pt x="1105" y="492"/>
                    </a:lnTo>
                    <a:lnTo>
                      <a:pt x="1113" y="503"/>
                    </a:lnTo>
                    <a:lnTo>
                      <a:pt x="1120" y="513"/>
                    </a:lnTo>
                    <a:lnTo>
                      <a:pt x="1108" y="519"/>
                    </a:lnTo>
                    <a:lnTo>
                      <a:pt x="1095" y="527"/>
                    </a:lnTo>
                    <a:lnTo>
                      <a:pt x="1082" y="537"/>
                    </a:lnTo>
                    <a:lnTo>
                      <a:pt x="1065" y="550"/>
                    </a:lnTo>
                    <a:lnTo>
                      <a:pt x="1035" y="586"/>
                    </a:lnTo>
                    <a:lnTo>
                      <a:pt x="1000" y="627"/>
                    </a:lnTo>
                    <a:lnTo>
                      <a:pt x="977" y="659"/>
                    </a:lnTo>
                    <a:lnTo>
                      <a:pt x="956" y="696"/>
                    </a:lnTo>
                    <a:lnTo>
                      <a:pt x="938" y="735"/>
                    </a:lnTo>
                    <a:lnTo>
                      <a:pt x="930" y="768"/>
                    </a:lnTo>
                    <a:lnTo>
                      <a:pt x="923" y="803"/>
                    </a:lnTo>
                    <a:lnTo>
                      <a:pt x="918" y="841"/>
                    </a:lnTo>
                    <a:lnTo>
                      <a:pt x="917" y="880"/>
                    </a:lnTo>
                    <a:lnTo>
                      <a:pt x="920" y="919"/>
                    </a:lnTo>
                    <a:lnTo>
                      <a:pt x="928" y="957"/>
                    </a:lnTo>
                    <a:lnTo>
                      <a:pt x="939" y="992"/>
                    </a:lnTo>
                    <a:lnTo>
                      <a:pt x="953" y="1025"/>
                    </a:lnTo>
                    <a:lnTo>
                      <a:pt x="971" y="1053"/>
                    </a:lnTo>
                    <a:lnTo>
                      <a:pt x="991" y="1080"/>
                    </a:lnTo>
                    <a:lnTo>
                      <a:pt x="1012" y="1103"/>
                    </a:lnTo>
                    <a:lnTo>
                      <a:pt x="1034" y="1122"/>
                    </a:lnTo>
                    <a:lnTo>
                      <a:pt x="1052" y="1141"/>
                    </a:lnTo>
                    <a:lnTo>
                      <a:pt x="1071" y="1158"/>
                    </a:lnTo>
                    <a:lnTo>
                      <a:pt x="1091" y="1172"/>
                    </a:lnTo>
                    <a:lnTo>
                      <a:pt x="1108" y="1182"/>
                    </a:lnTo>
                    <a:lnTo>
                      <a:pt x="1125" y="1194"/>
                    </a:lnTo>
                    <a:lnTo>
                      <a:pt x="1137" y="1201"/>
                    </a:lnTo>
                    <a:lnTo>
                      <a:pt x="1148" y="1205"/>
                    </a:lnTo>
                    <a:lnTo>
                      <a:pt x="1154" y="1209"/>
                    </a:lnTo>
                    <a:lnTo>
                      <a:pt x="1150" y="1218"/>
                    </a:lnTo>
                    <a:lnTo>
                      <a:pt x="1146" y="1230"/>
                    </a:lnTo>
                    <a:lnTo>
                      <a:pt x="1139" y="1247"/>
                    </a:lnTo>
                    <a:lnTo>
                      <a:pt x="1130" y="1268"/>
                    </a:lnTo>
                    <a:lnTo>
                      <a:pt x="1121" y="1293"/>
                    </a:lnTo>
                    <a:lnTo>
                      <a:pt x="1106" y="1323"/>
                    </a:lnTo>
                    <a:lnTo>
                      <a:pt x="1090" y="1357"/>
                    </a:lnTo>
                    <a:lnTo>
                      <a:pt x="1071" y="1393"/>
                    </a:lnTo>
                    <a:lnTo>
                      <a:pt x="1051" y="1427"/>
                    </a:lnTo>
                    <a:lnTo>
                      <a:pt x="1020" y="1477"/>
                    </a:lnTo>
                    <a:lnTo>
                      <a:pt x="987" y="1521"/>
                    </a:lnTo>
                    <a:lnTo>
                      <a:pt x="954" y="1560"/>
                    </a:lnTo>
                    <a:lnTo>
                      <a:pt x="935" y="1577"/>
                    </a:lnTo>
                    <a:lnTo>
                      <a:pt x="916" y="1592"/>
                    </a:lnTo>
                    <a:lnTo>
                      <a:pt x="897" y="1604"/>
                    </a:lnTo>
                    <a:lnTo>
                      <a:pt x="879" y="1611"/>
                    </a:lnTo>
                    <a:lnTo>
                      <a:pt x="860" y="1612"/>
                    </a:lnTo>
                    <a:lnTo>
                      <a:pt x="837" y="1610"/>
                    </a:lnTo>
                    <a:lnTo>
                      <a:pt x="816" y="1606"/>
                    </a:lnTo>
                    <a:lnTo>
                      <a:pt x="798" y="1603"/>
                    </a:lnTo>
                    <a:lnTo>
                      <a:pt x="784" y="1599"/>
                    </a:lnTo>
                    <a:lnTo>
                      <a:pt x="765" y="1591"/>
                    </a:lnTo>
                    <a:lnTo>
                      <a:pt x="746" y="1583"/>
                    </a:lnTo>
                    <a:lnTo>
                      <a:pt x="728" y="1574"/>
                    </a:lnTo>
                    <a:lnTo>
                      <a:pt x="717" y="1567"/>
                    </a:lnTo>
                    <a:lnTo>
                      <a:pt x="705" y="1559"/>
                    </a:lnTo>
                    <a:lnTo>
                      <a:pt x="693" y="1552"/>
                    </a:lnTo>
                    <a:lnTo>
                      <a:pt x="678" y="1548"/>
                    </a:lnTo>
                    <a:lnTo>
                      <a:pt x="659" y="1540"/>
                    </a:lnTo>
                    <a:lnTo>
                      <a:pt x="634" y="1534"/>
                    </a:lnTo>
                    <a:lnTo>
                      <a:pt x="608" y="1534"/>
                    </a:lnTo>
                    <a:lnTo>
                      <a:pt x="578" y="1534"/>
                    </a:lnTo>
                    <a:lnTo>
                      <a:pt x="550" y="1538"/>
                    </a:lnTo>
                    <a:lnTo>
                      <a:pt x="525" y="1544"/>
                    </a:lnTo>
                    <a:lnTo>
                      <a:pt x="494" y="1555"/>
                    </a:lnTo>
                    <a:lnTo>
                      <a:pt x="469" y="1566"/>
                    </a:lnTo>
                    <a:lnTo>
                      <a:pt x="450" y="1575"/>
                    </a:lnTo>
                    <a:lnTo>
                      <a:pt x="434" y="1584"/>
                    </a:lnTo>
                    <a:lnTo>
                      <a:pt x="419" y="1592"/>
                    </a:lnTo>
                    <a:lnTo>
                      <a:pt x="400" y="1598"/>
                    </a:lnTo>
                    <a:lnTo>
                      <a:pt x="384" y="1602"/>
                    </a:lnTo>
                    <a:lnTo>
                      <a:pt x="367" y="1603"/>
                    </a:lnTo>
                    <a:lnTo>
                      <a:pt x="344" y="1599"/>
                    </a:lnTo>
                    <a:lnTo>
                      <a:pt x="319" y="1591"/>
                    </a:lnTo>
                    <a:lnTo>
                      <a:pt x="296" y="1580"/>
                    </a:lnTo>
                    <a:lnTo>
                      <a:pt x="274" y="1568"/>
                    </a:lnTo>
                    <a:lnTo>
                      <a:pt x="252" y="1551"/>
                    </a:lnTo>
                    <a:lnTo>
                      <a:pt x="232" y="1528"/>
                    </a:lnTo>
                    <a:lnTo>
                      <a:pt x="208" y="1502"/>
                    </a:lnTo>
                    <a:lnTo>
                      <a:pt x="183" y="1469"/>
                    </a:lnTo>
                    <a:lnTo>
                      <a:pt x="159" y="1435"/>
                    </a:lnTo>
                    <a:lnTo>
                      <a:pt x="138" y="1399"/>
                    </a:lnTo>
                    <a:lnTo>
                      <a:pt x="114" y="1359"/>
                    </a:lnTo>
                    <a:lnTo>
                      <a:pt x="92" y="1315"/>
                    </a:lnTo>
                    <a:lnTo>
                      <a:pt x="71" y="1268"/>
                    </a:lnTo>
                    <a:lnTo>
                      <a:pt x="54" y="1219"/>
                    </a:lnTo>
                    <a:lnTo>
                      <a:pt x="39" y="1168"/>
                    </a:lnTo>
                    <a:lnTo>
                      <a:pt x="19" y="1090"/>
                    </a:lnTo>
                    <a:lnTo>
                      <a:pt x="6" y="1012"/>
                    </a:lnTo>
                    <a:lnTo>
                      <a:pt x="1" y="934"/>
                    </a:lnTo>
                    <a:lnTo>
                      <a:pt x="0" y="859"/>
                    </a:lnTo>
                    <a:lnTo>
                      <a:pt x="8" y="782"/>
                    </a:lnTo>
                    <a:lnTo>
                      <a:pt x="20" y="708"/>
                    </a:lnTo>
                    <a:lnTo>
                      <a:pt x="33" y="665"/>
                    </a:lnTo>
                    <a:lnTo>
                      <a:pt x="49" y="621"/>
                    </a:lnTo>
                    <a:lnTo>
                      <a:pt x="70" y="581"/>
                    </a:lnTo>
                    <a:lnTo>
                      <a:pt x="86" y="555"/>
                    </a:lnTo>
                    <a:lnTo>
                      <a:pt x="105" y="529"/>
                    </a:lnTo>
                    <a:lnTo>
                      <a:pt x="125" y="505"/>
                    </a:lnTo>
                    <a:lnTo>
                      <a:pt x="148" y="482"/>
                    </a:lnTo>
                    <a:lnTo>
                      <a:pt x="177" y="454"/>
                    </a:lnTo>
                    <a:lnTo>
                      <a:pt x="206" y="431"/>
                    </a:lnTo>
                    <a:lnTo>
                      <a:pt x="237" y="414"/>
                    </a:lnTo>
                    <a:lnTo>
                      <a:pt x="261" y="401"/>
                    </a:lnTo>
                    <a:lnTo>
                      <a:pt x="286" y="392"/>
                    </a:lnTo>
                    <a:lnTo>
                      <a:pt x="310" y="386"/>
                    </a:lnTo>
                    <a:lnTo>
                      <a:pt x="333" y="382"/>
                    </a:lnTo>
                    <a:lnTo>
                      <a:pt x="378" y="386"/>
                    </a:lnTo>
                    <a:lnTo>
                      <a:pt x="420" y="394"/>
                    </a:lnTo>
                    <a:lnTo>
                      <a:pt x="451" y="406"/>
                    </a:lnTo>
                    <a:lnTo>
                      <a:pt x="480" y="419"/>
                    </a:lnTo>
                    <a:lnTo>
                      <a:pt x="509" y="430"/>
                    </a:lnTo>
                    <a:lnTo>
                      <a:pt x="535" y="440"/>
                    </a:lnTo>
                    <a:lnTo>
                      <a:pt x="569" y="448"/>
                    </a:lnTo>
                    <a:lnTo>
                      <a:pt x="605" y="452"/>
                    </a:lnTo>
                    <a:lnTo>
                      <a:pt x="622" y="449"/>
                    </a:lnTo>
                    <a:lnTo>
                      <a:pt x="640" y="443"/>
                    </a:lnTo>
                    <a:lnTo>
                      <a:pt x="656" y="436"/>
                    </a:lnTo>
                    <a:lnTo>
                      <a:pt x="676" y="429"/>
                    </a:lnTo>
                    <a:lnTo>
                      <a:pt x="693" y="420"/>
                    </a:lnTo>
                    <a:lnTo>
                      <a:pt x="711" y="409"/>
                    </a:lnTo>
                    <a:lnTo>
                      <a:pt x="745" y="398"/>
                    </a:lnTo>
                    <a:lnTo>
                      <a:pt x="783" y="386"/>
                    </a:lnTo>
                    <a:lnTo>
                      <a:pt x="815" y="378"/>
                    </a:lnTo>
                    <a:lnTo>
                      <a:pt x="848" y="373"/>
                    </a:lnTo>
                    <a:lnTo>
                      <a:pt x="887" y="368"/>
                    </a:lnTo>
                    <a:close/>
                    <a:moveTo>
                      <a:pt x="882" y="0"/>
                    </a:moveTo>
                    <a:lnTo>
                      <a:pt x="883" y="19"/>
                    </a:lnTo>
                    <a:lnTo>
                      <a:pt x="882" y="36"/>
                    </a:lnTo>
                    <a:lnTo>
                      <a:pt x="883" y="53"/>
                    </a:lnTo>
                    <a:lnTo>
                      <a:pt x="873" y="100"/>
                    </a:lnTo>
                    <a:lnTo>
                      <a:pt x="867" y="121"/>
                    </a:lnTo>
                    <a:lnTo>
                      <a:pt x="861" y="143"/>
                    </a:lnTo>
                    <a:lnTo>
                      <a:pt x="854" y="160"/>
                    </a:lnTo>
                    <a:lnTo>
                      <a:pt x="847" y="175"/>
                    </a:lnTo>
                    <a:lnTo>
                      <a:pt x="839" y="188"/>
                    </a:lnTo>
                    <a:lnTo>
                      <a:pt x="824" y="210"/>
                    </a:lnTo>
                    <a:lnTo>
                      <a:pt x="805" y="232"/>
                    </a:lnTo>
                    <a:lnTo>
                      <a:pt x="783" y="252"/>
                    </a:lnTo>
                    <a:lnTo>
                      <a:pt x="763" y="269"/>
                    </a:lnTo>
                    <a:lnTo>
                      <a:pt x="742" y="286"/>
                    </a:lnTo>
                    <a:lnTo>
                      <a:pt x="719" y="300"/>
                    </a:lnTo>
                    <a:lnTo>
                      <a:pt x="696" y="313"/>
                    </a:lnTo>
                    <a:lnTo>
                      <a:pt x="673" y="324"/>
                    </a:lnTo>
                    <a:lnTo>
                      <a:pt x="649" y="335"/>
                    </a:lnTo>
                    <a:lnTo>
                      <a:pt x="611" y="343"/>
                    </a:lnTo>
                    <a:lnTo>
                      <a:pt x="571" y="347"/>
                    </a:lnTo>
                    <a:lnTo>
                      <a:pt x="565" y="349"/>
                    </a:lnTo>
                    <a:lnTo>
                      <a:pt x="565" y="349"/>
                    </a:lnTo>
                    <a:lnTo>
                      <a:pt x="565" y="349"/>
                    </a:lnTo>
                    <a:lnTo>
                      <a:pt x="563" y="349"/>
                    </a:lnTo>
                    <a:lnTo>
                      <a:pt x="561" y="349"/>
                    </a:lnTo>
                    <a:lnTo>
                      <a:pt x="558" y="333"/>
                    </a:lnTo>
                    <a:lnTo>
                      <a:pt x="557" y="318"/>
                    </a:lnTo>
                    <a:lnTo>
                      <a:pt x="555" y="303"/>
                    </a:lnTo>
                    <a:lnTo>
                      <a:pt x="554" y="287"/>
                    </a:lnTo>
                    <a:lnTo>
                      <a:pt x="564" y="262"/>
                    </a:lnTo>
                    <a:lnTo>
                      <a:pt x="575" y="238"/>
                    </a:lnTo>
                    <a:lnTo>
                      <a:pt x="580" y="225"/>
                    </a:lnTo>
                    <a:lnTo>
                      <a:pt x="587" y="210"/>
                    </a:lnTo>
                    <a:lnTo>
                      <a:pt x="597" y="194"/>
                    </a:lnTo>
                    <a:lnTo>
                      <a:pt x="625" y="159"/>
                    </a:lnTo>
                    <a:lnTo>
                      <a:pt x="638" y="138"/>
                    </a:lnTo>
                    <a:lnTo>
                      <a:pt x="653" y="125"/>
                    </a:lnTo>
                    <a:lnTo>
                      <a:pt x="668" y="107"/>
                    </a:lnTo>
                    <a:lnTo>
                      <a:pt x="684" y="91"/>
                    </a:lnTo>
                    <a:lnTo>
                      <a:pt x="700" y="77"/>
                    </a:lnTo>
                    <a:lnTo>
                      <a:pt x="760" y="40"/>
                    </a:lnTo>
                    <a:lnTo>
                      <a:pt x="780" y="30"/>
                    </a:lnTo>
                    <a:lnTo>
                      <a:pt x="801" y="22"/>
                    </a:lnTo>
                    <a:lnTo>
                      <a:pt x="821" y="18"/>
                    </a:lnTo>
                    <a:lnTo>
                      <a:pt x="845" y="9"/>
                    </a:lnTo>
                    <a:lnTo>
                      <a:pt x="866" y="4"/>
                    </a:lnTo>
                    <a:lnTo>
                      <a:pt x="882" y="0"/>
                    </a:lnTo>
                    <a:close/>
                  </a:path>
                </a:pathLst>
              </a:custGeom>
              <a:solidFill>
                <a:srgbClr val="3D58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sp>
        <p:nvSpPr>
          <p:cNvPr id="196" name="Left-Right Arrow 195"/>
          <p:cNvSpPr/>
          <p:nvPr/>
        </p:nvSpPr>
        <p:spPr bwMode="auto">
          <a:xfrm>
            <a:off x="2034018" y="3193827"/>
            <a:ext cx="702336" cy="322824"/>
          </a:xfrm>
          <a:prstGeom prst="leftRightArrow">
            <a:avLst/>
          </a:prstGeom>
          <a:solidFill>
            <a:srgbClr val="FFFFFF"/>
          </a:solidFill>
          <a:ln w="25400" cap="flat" cmpd="sng" algn="ctr">
            <a:solidFill>
              <a:srgbClr val="00187B"/>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97" name="Left-Right Arrow 196"/>
          <p:cNvSpPr/>
          <p:nvPr/>
        </p:nvSpPr>
        <p:spPr bwMode="auto">
          <a:xfrm>
            <a:off x="3969724" y="3221135"/>
            <a:ext cx="702336" cy="322824"/>
          </a:xfrm>
          <a:prstGeom prst="leftRightArrow">
            <a:avLst/>
          </a:prstGeom>
          <a:solidFill>
            <a:srgbClr val="FFFFFF"/>
          </a:solidFill>
          <a:ln w="25400" cap="flat" cmpd="sng" algn="ctr">
            <a:solidFill>
              <a:srgbClr val="3D58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98" name="Left-Right Arrow 197"/>
          <p:cNvSpPr/>
          <p:nvPr/>
        </p:nvSpPr>
        <p:spPr bwMode="auto">
          <a:xfrm rot="5400000">
            <a:off x="2905903" y="4458888"/>
            <a:ext cx="902926" cy="322824"/>
          </a:xfrm>
          <a:prstGeom prst="leftRightArrow">
            <a:avLst/>
          </a:prstGeom>
          <a:solidFill>
            <a:srgbClr val="FFFFFF"/>
          </a:solidFill>
          <a:ln w="25400" cap="flat" cmpd="sng" algn="ctr">
            <a:solidFill>
              <a:srgbClr val="3D58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Tree>
    <p:extLst>
      <p:ext uri="{BB962C8B-B14F-4D97-AF65-F5344CB8AC3E}">
        <p14:creationId xmlns:p14="http://schemas.microsoft.com/office/powerpoint/2010/main" val="2886207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6"/>
                                        </p:tgtEl>
                                        <p:attrNameLst>
                                          <p:attrName>style.visibility</p:attrName>
                                        </p:attrNameLst>
                                      </p:cBhvr>
                                      <p:to>
                                        <p:strVal val="visible"/>
                                      </p:to>
                                    </p:set>
                                    <p:animEffect transition="in" filter="fade">
                                      <p:cBhvr>
                                        <p:cTn id="10" dur="500"/>
                                        <p:tgtEl>
                                          <p:spTgt spid="19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80"/>
                                        </p:tgtEl>
                                        <p:attrNameLst>
                                          <p:attrName>style.visibility</p:attrName>
                                        </p:attrNameLst>
                                      </p:cBhvr>
                                      <p:to>
                                        <p:strVal val="visible"/>
                                      </p:to>
                                    </p:set>
                                    <p:animEffect transition="in" filter="fade">
                                      <p:cBhvr>
                                        <p:cTn id="14" dur="500"/>
                                        <p:tgtEl>
                                          <p:spTgt spid="18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7"/>
                                        </p:tgtEl>
                                        <p:attrNameLst>
                                          <p:attrName>style.visibility</p:attrName>
                                        </p:attrNameLst>
                                      </p:cBhvr>
                                      <p:to>
                                        <p:strVal val="visible"/>
                                      </p:to>
                                    </p:set>
                                    <p:animEffect transition="in" filter="fade">
                                      <p:cBhvr>
                                        <p:cTn id="17" dur="500"/>
                                        <p:tgtEl>
                                          <p:spTgt spid="197"/>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31"/>
                                        </p:tgtEl>
                                        <p:attrNameLst>
                                          <p:attrName>style.visibility</p:attrName>
                                        </p:attrNameLst>
                                      </p:cBhvr>
                                      <p:to>
                                        <p:strVal val="visible"/>
                                      </p:to>
                                    </p:set>
                                    <p:animEffect transition="in" filter="fade">
                                      <p:cBhvr>
                                        <p:cTn id="21" dur="500"/>
                                        <p:tgtEl>
                                          <p:spTgt spid="13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78"/>
                                        </p:tgtEl>
                                        <p:attrNameLst>
                                          <p:attrName>style.visibility</p:attrName>
                                        </p:attrNameLst>
                                      </p:cBhvr>
                                      <p:to>
                                        <p:strVal val="visible"/>
                                      </p:to>
                                    </p:set>
                                    <p:animEffect transition="in" filter="fade">
                                      <p:cBhvr>
                                        <p:cTn id="24" dur="500"/>
                                        <p:tgtEl>
                                          <p:spTgt spid="178"/>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67"/>
                                        </p:tgtEl>
                                        <p:attrNameLst>
                                          <p:attrName>style.visibility</p:attrName>
                                        </p:attrNameLst>
                                      </p:cBhvr>
                                      <p:to>
                                        <p:strVal val="visible"/>
                                      </p:to>
                                    </p:set>
                                    <p:animEffect transition="in" filter="fade">
                                      <p:cBhvr>
                                        <p:cTn id="28" dur="500"/>
                                        <p:tgtEl>
                                          <p:spTgt spid="167"/>
                                        </p:tgtEl>
                                      </p:cBhvr>
                                    </p:animEffect>
                                  </p:childTnLst>
                                </p:cTn>
                              </p:par>
                            </p:childTnLst>
                          </p:cTn>
                        </p:par>
                        <p:par>
                          <p:cTn id="29" fill="hold">
                            <p:stCondLst>
                              <p:cond delay="2000"/>
                            </p:stCondLst>
                            <p:childTnLst>
                              <p:par>
                                <p:cTn id="30" presetID="10" presetClass="entr" presetSubtype="0" fill="hold" grpId="0" nodeType="afterEffect">
                                  <p:stCondLst>
                                    <p:cond delay="1000"/>
                                  </p:stCondLst>
                                  <p:childTnLst>
                                    <p:set>
                                      <p:cBhvr>
                                        <p:cTn id="31" dur="1" fill="hold">
                                          <p:stCondLst>
                                            <p:cond delay="0"/>
                                          </p:stCondLst>
                                        </p:cTn>
                                        <p:tgtEl>
                                          <p:spTgt spid="166"/>
                                        </p:tgtEl>
                                        <p:attrNameLst>
                                          <p:attrName>style.visibility</p:attrName>
                                        </p:attrNameLst>
                                      </p:cBhvr>
                                      <p:to>
                                        <p:strVal val="visible"/>
                                      </p:to>
                                    </p:set>
                                    <p:animEffect transition="in" filter="fade">
                                      <p:cBhvr>
                                        <p:cTn id="32" dur="500"/>
                                        <p:tgtEl>
                                          <p:spTgt spid="16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60"/>
                                        </p:tgtEl>
                                        <p:attrNameLst>
                                          <p:attrName>style.visibility</p:attrName>
                                        </p:attrNameLst>
                                      </p:cBhvr>
                                      <p:to>
                                        <p:strVal val="visible"/>
                                      </p:to>
                                    </p:set>
                                    <p:animEffect transition="in" filter="fade">
                                      <p:cBhvr>
                                        <p:cTn id="35" dur="500"/>
                                        <p:tgtEl>
                                          <p:spTgt spid="16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1"/>
                                        </p:tgtEl>
                                        <p:attrNameLst>
                                          <p:attrName>style.visibility</p:attrName>
                                        </p:attrNameLst>
                                      </p:cBhvr>
                                      <p:to>
                                        <p:strVal val="visible"/>
                                      </p:to>
                                    </p:set>
                                    <p:animEffect transition="in" filter="fade">
                                      <p:cBhvr>
                                        <p:cTn id="38" dur="500"/>
                                        <p:tgtEl>
                                          <p:spTgt spid="161"/>
                                        </p:tgtEl>
                                      </p:cBhvr>
                                    </p:animEffect>
                                  </p:childTnLst>
                                </p:cTn>
                              </p:par>
                            </p:childTnLst>
                          </p:cTn>
                        </p:par>
                        <p:par>
                          <p:cTn id="39" fill="hold">
                            <p:stCondLst>
                              <p:cond delay="3500"/>
                            </p:stCondLst>
                            <p:childTnLst>
                              <p:par>
                                <p:cTn id="40" presetID="22" presetClass="entr" presetSubtype="1" fill="hold" grpId="0" nodeType="afterEffect">
                                  <p:stCondLst>
                                    <p:cond delay="0"/>
                                  </p:stCondLst>
                                  <p:childTnLst>
                                    <p:set>
                                      <p:cBhvr>
                                        <p:cTn id="41" dur="1" fill="hold">
                                          <p:stCondLst>
                                            <p:cond delay="0"/>
                                          </p:stCondLst>
                                        </p:cTn>
                                        <p:tgtEl>
                                          <p:spTgt spid="179"/>
                                        </p:tgtEl>
                                        <p:attrNameLst>
                                          <p:attrName>style.visibility</p:attrName>
                                        </p:attrNameLst>
                                      </p:cBhvr>
                                      <p:to>
                                        <p:strVal val="visible"/>
                                      </p:to>
                                    </p:set>
                                    <p:animEffect transition="in" filter="wipe(up)">
                                      <p:cBhvr>
                                        <p:cTn id="42" dur="500"/>
                                        <p:tgtEl>
                                          <p:spTgt spid="179"/>
                                        </p:tgtEl>
                                      </p:cBhvr>
                                    </p:animEffect>
                                  </p:childTnLst>
                                </p:cTn>
                              </p:par>
                            </p:childTnLst>
                          </p:cTn>
                        </p:par>
                        <p:par>
                          <p:cTn id="43" fill="hold">
                            <p:stCondLst>
                              <p:cond delay="4000"/>
                            </p:stCondLst>
                            <p:childTnLst>
                              <p:par>
                                <p:cTn id="44" presetID="22" presetClass="entr" presetSubtype="1" fill="hold" grpId="0" nodeType="afterEffect">
                                  <p:stCondLst>
                                    <p:cond delay="0"/>
                                  </p:stCondLst>
                                  <p:childTnLst>
                                    <p:set>
                                      <p:cBhvr>
                                        <p:cTn id="45" dur="1" fill="hold">
                                          <p:stCondLst>
                                            <p:cond delay="0"/>
                                          </p:stCondLst>
                                        </p:cTn>
                                        <p:tgtEl>
                                          <p:spTgt spid="198"/>
                                        </p:tgtEl>
                                        <p:attrNameLst>
                                          <p:attrName>style.visibility</p:attrName>
                                        </p:attrNameLst>
                                      </p:cBhvr>
                                      <p:to>
                                        <p:strVal val="visible"/>
                                      </p:to>
                                    </p:set>
                                    <p:animEffect transition="in" filter="wipe(up)">
                                      <p:cBhvr>
                                        <p:cTn id="46" dur="500"/>
                                        <p:tgtEl>
                                          <p:spTgt spid="198"/>
                                        </p:tgtEl>
                                      </p:cBhvr>
                                    </p:animEffect>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176"/>
                                        </p:tgtEl>
                                        <p:attrNameLst>
                                          <p:attrName>style.visibility</p:attrName>
                                        </p:attrNameLst>
                                      </p:cBhvr>
                                      <p:to>
                                        <p:strVal val="visible"/>
                                      </p:to>
                                    </p:set>
                                    <p:animEffect transition="in" filter="wipe(up)">
                                      <p:cBhvr>
                                        <p:cTn id="50" dur="500"/>
                                        <p:tgtEl>
                                          <p:spTgt spid="176"/>
                                        </p:tgtEl>
                                      </p:cBhvr>
                                    </p:animEffect>
                                  </p:childTnLst>
                                </p:cTn>
                              </p:par>
                            </p:childTnLst>
                          </p:cTn>
                        </p:par>
                        <p:par>
                          <p:cTn id="51" fill="hold">
                            <p:stCondLst>
                              <p:cond delay="5000"/>
                            </p:stCondLst>
                            <p:childTnLst>
                              <p:par>
                                <p:cTn id="52" presetID="22" presetClass="entr" presetSubtype="1" fill="hold" grpId="0" nodeType="afterEffect">
                                  <p:stCondLst>
                                    <p:cond delay="0"/>
                                  </p:stCondLst>
                                  <p:childTnLst>
                                    <p:set>
                                      <p:cBhvr>
                                        <p:cTn id="53" dur="1" fill="hold">
                                          <p:stCondLst>
                                            <p:cond delay="0"/>
                                          </p:stCondLst>
                                        </p:cTn>
                                        <p:tgtEl>
                                          <p:spTgt spid="177"/>
                                        </p:tgtEl>
                                        <p:attrNameLst>
                                          <p:attrName>style.visibility</p:attrName>
                                        </p:attrNameLst>
                                      </p:cBhvr>
                                      <p:to>
                                        <p:strVal val="visible"/>
                                      </p:to>
                                    </p:set>
                                    <p:animEffect transition="in" filter="wipe(up)">
                                      <p:cBhvr>
                                        <p:cTn id="54" dur="500"/>
                                        <p:tgtEl>
                                          <p:spTgt spid="177"/>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7"/>
                                        </p:tgtEl>
                                        <p:attrNameLst>
                                          <p:attrName>style.visibility</p:attrName>
                                        </p:attrNameLst>
                                      </p:cBhvr>
                                      <p:to>
                                        <p:strVal val="visible"/>
                                      </p:to>
                                    </p:set>
                                    <p:animEffect transition="in" filter="fade">
                                      <p:cBhvr>
                                        <p:cTn id="59" dur="500"/>
                                        <p:tgtEl>
                                          <p:spTgt spid="157"/>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59"/>
                                        </p:tgtEl>
                                        <p:attrNameLst>
                                          <p:attrName>style.visibility</p:attrName>
                                        </p:attrNameLst>
                                      </p:cBhvr>
                                      <p:to>
                                        <p:strVal val="visible"/>
                                      </p:to>
                                    </p:set>
                                    <p:animEffect transition="in" filter="fade">
                                      <p:cBhvr>
                                        <p:cTn id="69"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p:bldP spid="158" grpId="0"/>
      <p:bldP spid="159" grpId="0"/>
      <p:bldP spid="160" grpId="0" animBg="1"/>
      <p:bldP spid="161" grpId="0"/>
      <p:bldP spid="166" grpId="0" animBg="1"/>
      <p:bldP spid="176" grpId="0" animBg="1"/>
      <p:bldP spid="177" grpId="0" animBg="1"/>
      <p:bldP spid="178" grpId="0" animBg="1"/>
      <p:bldP spid="179" grpId="0" animBg="1"/>
      <p:bldP spid="196" grpId="0" animBg="1"/>
      <p:bldP spid="197" grpId="0" animBg="1"/>
      <p:bldP spid="198"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92249" y="2143592"/>
            <a:ext cx="4572318" cy="3003899"/>
          </a:xfrm>
          <a:prstGeom prst="rect">
            <a:avLst/>
          </a:prstGeom>
          <a:noFill/>
        </p:spPr>
        <p:txBody>
          <a:bodyPr wrap="square" lIns="182880" tIns="146304" rIns="182880" bIns="146304" rtlCol="0">
            <a:spAutoFit/>
          </a:bodyPr>
          <a:lstStyle/>
          <a:p>
            <a:r>
              <a:rPr lang="en-US" sz="4400" b="1" dirty="0" smtClean="0">
                <a:gradFill>
                  <a:gsLst>
                    <a:gs pos="83000">
                      <a:srgbClr val="FFFFFF"/>
                    </a:gs>
                    <a:gs pos="100000">
                      <a:srgbClr val="0072C6">
                        <a:lumMod val="30000"/>
                        <a:lumOff val="70000"/>
                      </a:srgbClr>
                    </a:gs>
                  </a:gsLst>
                  <a:lin ang="5400000" scaled="1"/>
                </a:gradFill>
              </a:rPr>
              <a:t>Scan </a:t>
            </a:r>
            <a:r>
              <a:rPr lang="en-US" sz="4400" b="1" dirty="0">
                <a:gradFill>
                  <a:gsLst>
                    <a:gs pos="83000">
                      <a:srgbClr val="FFFFFF"/>
                    </a:gs>
                    <a:gs pos="100000">
                      <a:srgbClr val="0072C6">
                        <a:lumMod val="30000"/>
                        <a:lumOff val="70000"/>
                      </a:srgbClr>
                    </a:gs>
                  </a:gsLst>
                  <a:lin ang="5400000" scaled="1"/>
                </a:gradFill>
              </a:rPr>
              <a:t>this QR code </a:t>
            </a:r>
            <a:r>
              <a:rPr lang="en-US" sz="4400" dirty="0">
                <a:gradFill>
                  <a:gsLst>
                    <a:gs pos="83000">
                      <a:srgbClr val="FFFFFF"/>
                    </a:gs>
                    <a:gs pos="100000">
                      <a:srgbClr val="0072C6">
                        <a:lumMod val="30000"/>
                        <a:lumOff val="70000"/>
                      </a:srgbClr>
                    </a:gs>
                  </a:gsLst>
                  <a:lin ang="5400000" scaled="1"/>
                </a:gradFill>
              </a:rPr>
              <a:t>to </a:t>
            </a:r>
          </a:p>
          <a:p>
            <a:r>
              <a:rPr lang="en-US" sz="4400" dirty="0">
                <a:gradFill>
                  <a:gsLst>
                    <a:gs pos="83000">
                      <a:srgbClr val="FFFFFF"/>
                    </a:gs>
                    <a:gs pos="100000">
                      <a:srgbClr val="0072C6">
                        <a:lumMod val="30000"/>
                        <a:lumOff val="70000"/>
                      </a:srgbClr>
                    </a:gs>
                  </a:gsLst>
                  <a:lin ang="5400000" scaled="1"/>
                </a:gradFill>
              </a:rPr>
              <a:t>evaluate this session.</a:t>
            </a: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2012528470"/>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36742" y="1260600"/>
            <a:ext cx="11561371" cy="4777287"/>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square" lIns="91362" tIns="45682" rIns="91362" bIns="45682" numCol="1" rtlCol="0" anchor="ctr" anchorCtr="0" compatLnSpc="1">
            <a:prstTxWarp prst="textNoShape">
              <a:avLst/>
            </a:prstTxWarp>
          </a:bodyPr>
          <a:lstStyle/>
          <a:p>
            <a:pPr algn="ctr" defTabSz="913376"/>
            <a:endParaRPr lang="en-US" sz="2198" dirty="0">
              <a:solidFill>
                <a:schemeClr val="bg1"/>
              </a:solidFill>
            </a:endParaRPr>
          </a:p>
        </p:txBody>
      </p:sp>
      <p:sp>
        <p:nvSpPr>
          <p:cNvPr id="4" name="Title 3"/>
          <p:cNvSpPr>
            <a:spLocks noGrp="1"/>
          </p:cNvSpPr>
          <p:nvPr>
            <p:ph type="title"/>
          </p:nvPr>
        </p:nvSpPr>
        <p:spPr/>
        <p:txBody>
          <a:bodyPr>
            <a:normAutofit fontScale="90000"/>
          </a:bodyPr>
          <a:lstStyle/>
          <a:p>
            <a:r>
              <a:rPr lang="en-US" sz="4896" dirty="0"/>
              <a:t>Simplifying Management Across Platforms</a:t>
            </a:r>
          </a:p>
        </p:txBody>
      </p:sp>
      <p:sp>
        <p:nvSpPr>
          <p:cNvPr id="5" name="Rectangle 4"/>
          <p:cNvSpPr/>
          <p:nvPr/>
        </p:nvSpPr>
        <p:spPr>
          <a:xfrm>
            <a:off x="7322764" y="1708337"/>
            <a:ext cx="4268013" cy="381656"/>
          </a:xfrm>
          <a:prstGeom prst="rect">
            <a:avLst/>
          </a:prstGeom>
          <a:noFill/>
          <a:ln w="12700">
            <a:noFill/>
            <a:prstDash val="sysDot"/>
          </a:ln>
        </p:spPr>
        <p:txBody>
          <a:bodyPr wrap="none" lIns="91366" rIns="137050" anchor="ctr" anchorCtr="0">
            <a:noAutofit/>
          </a:bodyPr>
          <a:lstStyle/>
          <a:p>
            <a:pPr marL="58692" algn="ctr" defTabSz="913376" fontAlgn="base">
              <a:spcBef>
                <a:spcPct val="0"/>
              </a:spcBef>
              <a:spcAft>
                <a:spcPct val="0"/>
              </a:spcAft>
            </a:pPr>
            <a:r>
              <a:rPr lang="en-US" sz="1398" b="1" dirty="0"/>
              <a:t>Devices &amp; Platforms</a:t>
            </a:r>
          </a:p>
        </p:txBody>
      </p:sp>
      <p:sp>
        <p:nvSpPr>
          <p:cNvPr id="23" name="Freeform 237"/>
          <p:cNvSpPr>
            <a:spLocks noChangeAspect="1"/>
          </p:cNvSpPr>
          <p:nvPr/>
        </p:nvSpPr>
        <p:spPr bwMode="auto">
          <a:xfrm>
            <a:off x="734315" y="4773023"/>
            <a:ext cx="1552312" cy="1386547"/>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solidFill>
            <a:srgbClr val="FFFF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597" tIns="46597" rIns="46597" bIns="46597" numCol="1" spcCol="0" rtlCol="0" fromWordArt="0" anchor="ctr" anchorCtr="0" forceAA="0" compatLnSpc="1">
            <a:prstTxWarp prst="textNoShape">
              <a:avLst/>
            </a:prstTxWarp>
            <a:noAutofit/>
          </a:bodyPr>
          <a:lstStyle/>
          <a:p>
            <a:pPr algn="ctr" defTabSz="931643" fontAlgn="base">
              <a:spcBef>
                <a:spcPct val="0"/>
              </a:spcBef>
              <a:spcAft>
                <a:spcPct val="0"/>
              </a:spcAft>
            </a:pPr>
            <a:endParaRPr lang="en-US" sz="1798">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p:cNvSpPr txBox="1"/>
          <p:nvPr/>
        </p:nvSpPr>
        <p:spPr>
          <a:xfrm>
            <a:off x="1201747" y="5996008"/>
            <a:ext cx="617442" cy="633976"/>
          </a:xfrm>
          <a:prstGeom prst="rect">
            <a:avLst/>
          </a:prstGeom>
          <a:noFill/>
        </p:spPr>
        <p:txBody>
          <a:bodyPr wrap="none" lIns="182733" tIns="146187" rIns="182733" bIns="146187" rtlCol="0">
            <a:spAutoFit/>
          </a:bodyPr>
          <a:lstStyle/>
          <a:p>
            <a:pPr algn="ctr">
              <a:lnSpc>
                <a:spcPct val="90000"/>
              </a:lnSpc>
            </a:pPr>
            <a:r>
              <a:rPr lang="en-US" sz="2398" dirty="0">
                <a:gradFill>
                  <a:gsLst>
                    <a:gs pos="2917">
                      <a:schemeClr val="tx1"/>
                    </a:gs>
                    <a:gs pos="30000">
                      <a:schemeClr val="tx1"/>
                    </a:gs>
                  </a:gsLst>
                  <a:lin ang="5400000" scaled="0"/>
                </a:gradFill>
              </a:rPr>
              <a:t>IT</a:t>
            </a:r>
          </a:p>
        </p:txBody>
      </p:sp>
      <p:grpSp>
        <p:nvGrpSpPr>
          <p:cNvPr id="41" name="Group 40"/>
          <p:cNvGrpSpPr/>
          <p:nvPr/>
        </p:nvGrpSpPr>
        <p:grpSpPr>
          <a:xfrm>
            <a:off x="3638128" y="2727820"/>
            <a:ext cx="2932937" cy="2740488"/>
            <a:chOff x="3636048" y="3083757"/>
            <a:chExt cx="2935297" cy="2742694"/>
          </a:xfrm>
        </p:grpSpPr>
        <p:pic>
          <p:nvPicPr>
            <p:cNvPr id="22" name="Picture 21" descr="C:\Users\mflorida.REDMOND\AppData\Local\Microsoft\Windows\Temporary Internet Files\Content.Outlook\CJ3SCPD3\SysCnt12-ConfigMgr_h_rgb_r.png"/>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4209382" y="3083757"/>
              <a:ext cx="2289427" cy="60915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0" name="Freeform 320"/>
            <p:cNvSpPr>
              <a:spLocks/>
            </p:cNvSpPr>
            <p:nvPr/>
          </p:nvSpPr>
          <p:spPr bwMode="auto">
            <a:xfrm>
              <a:off x="4699672" y="4992283"/>
              <a:ext cx="1871673" cy="834168"/>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chemeClr val="tx1"/>
            </a:solidFill>
            <a:ln w="9525" cap="flat" cmpd="sng" algn="ctr">
              <a:noFill/>
              <a:prstDash val="solid"/>
              <a:headEnd type="none" w="med" len="med"/>
              <a:tailEnd type="none" w="med" len="med"/>
            </a:ln>
            <a:effectLst/>
            <a:extLst/>
          </p:spPr>
          <p:txBody>
            <a:bodyPr vert="horz" wrap="square" lIns="113750" tIns="0" rIns="113750" bIns="56875" numCol="1" rtlCol="0" anchor="ctr" anchorCtr="0" compatLnSpc="1">
              <a:prstTxWarp prst="textNoShape">
                <a:avLst/>
              </a:prstTxWarp>
            </a:bodyPr>
            <a:lstStyle/>
            <a:p>
              <a:pPr defTabSz="1137193" fontAlgn="base">
                <a:spcBef>
                  <a:spcPct val="0"/>
                </a:spcBef>
                <a:spcAft>
                  <a:spcPct val="0"/>
                </a:spcAft>
              </a:pPr>
              <a:endParaRPr lang="en-US" sz="1398" b="1" kern="0" dirty="0">
                <a:solidFill>
                  <a:schemeClr val="accent1"/>
                </a:solidFill>
                <a:latin typeface="Segoe" pitchFamily="34" charset="0"/>
              </a:endParaRPr>
            </a:p>
            <a:p>
              <a:pPr defTabSz="1137193" fontAlgn="base">
                <a:spcBef>
                  <a:spcPct val="0"/>
                </a:spcBef>
                <a:spcAft>
                  <a:spcPct val="0"/>
                </a:spcAft>
              </a:pPr>
              <a:r>
                <a:rPr lang="en-US" sz="1398" b="1" kern="0" dirty="0">
                  <a:solidFill>
                    <a:schemeClr val="accent1"/>
                  </a:solidFill>
                  <a:latin typeface="Segoe" pitchFamily="34" charset="0"/>
                </a:rPr>
                <a:t>       </a:t>
              </a:r>
            </a:p>
          </p:txBody>
        </p:sp>
        <p:cxnSp>
          <p:nvCxnSpPr>
            <p:cNvPr id="34" name="Straight Arrow Connector 33"/>
            <p:cNvCxnSpPr/>
            <p:nvPr/>
          </p:nvCxnSpPr>
          <p:spPr>
            <a:xfrm flipH="1">
              <a:off x="3636048" y="3608613"/>
              <a:ext cx="512399" cy="735809"/>
            </a:xfrm>
            <a:prstGeom prst="straightConnector1">
              <a:avLst/>
            </a:prstGeom>
            <a:ln w="19050"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flipV="1">
              <a:off x="3636048" y="4659621"/>
              <a:ext cx="512399" cy="584737"/>
            </a:xfrm>
            <a:prstGeom prst="straightConnector1">
              <a:avLst/>
            </a:prstGeom>
            <a:ln w="19050"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2036701" y="3567763"/>
            <a:ext cx="1869683" cy="1068216"/>
            <a:chOff x="2312733" y="3924377"/>
            <a:chExt cx="1871187" cy="1069076"/>
          </a:xfrm>
        </p:grpSpPr>
        <p:pic>
          <p:nvPicPr>
            <p:cNvPr id="39" name="Picture 3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2399333" y="3924377"/>
              <a:ext cx="1368055" cy="1069076"/>
            </a:xfrm>
            <a:prstGeom prst="rect">
              <a:avLst/>
            </a:prstGeom>
          </p:spPr>
        </p:pic>
        <p:sp>
          <p:nvSpPr>
            <p:cNvPr id="25" name="Rectangle 24"/>
            <p:cNvSpPr/>
            <p:nvPr/>
          </p:nvSpPr>
          <p:spPr>
            <a:xfrm>
              <a:off x="2312733" y="4321892"/>
              <a:ext cx="1871187" cy="470783"/>
            </a:xfrm>
            <a:prstGeom prst="rect">
              <a:avLst/>
            </a:prstGeom>
          </p:spPr>
          <p:txBody>
            <a:bodyPr wrap="square">
              <a:spAutoFit/>
            </a:bodyPr>
            <a:lstStyle/>
            <a:p>
              <a:pPr marL="168142" lvl="1"/>
              <a:r>
                <a:rPr lang="en-US" sz="1198" dirty="0">
                  <a:ea typeface="Calibri"/>
                  <a:cs typeface="Arial" pitchFamily="34" charset="0"/>
                </a:rPr>
                <a:t>Single admin</a:t>
              </a:r>
            </a:p>
            <a:p>
              <a:pPr marL="168142" lvl="1"/>
              <a:r>
                <a:rPr lang="en-US" sz="1198" dirty="0">
                  <a:ea typeface="Calibri"/>
                  <a:cs typeface="Arial" pitchFamily="34" charset="0"/>
                </a:rPr>
                <a:t>console</a:t>
              </a:r>
            </a:p>
          </p:txBody>
        </p:sp>
      </p:grpSp>
      <p:cxnSp>
        <p:nvCxnSpPr>
          <p:cNvPr id="29" name="Straight Arrow Connector 28"/>
          <p:cNvCxnSpPr/>
          <p:nvPr/>
        </p:nvCxnSpPr>
        <p:spPr>
          <a:xfrm flipH="1">
            <a:off x="2039840" y="4761600"/>
            <a:ext cx="426478" cy="503828"/>
          </a:xfrm>
          <a:prstGeom prst="straightConnector1">
            <a:avLst/>
          </a:prstGeom>
          <a:ln w="19050"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7062929" y="2489877"/>
            <a:ext cx="4350210" cy="1552102"/>
            <a:chOff x="7063606" y="2845621"/>
            <a:chExt cx="4353711" cy="1553352"/>
          </a:xfrm>
        </p:grpSpPr>
        <p:grpSp>
          <p:nvGrpSpPr>
            <p:cNvPr id="13" name="Group 12"/>
            <p:cNvGrpSpPr/>
            <p:nvPr/>
          </p:nvGrpSpPr>
          <p:grpSpPr>
            <a:xfrm>
              <a:off x="9583894" y="3649365"/>
              <a:ext cx="943970" cy="749608"/>
              <a:chOff x="10242275" y="-961788"/>
              <a:chExt cx="780141" cy="619510"/>
            </a:xfrm>
          </p:grpSpPr>
          <p:sp>
            <p:nvSpPr>
              <p:cNvPr id="64" name="Freeform 7"/>
              <p:cNvSpPr>
                <a:spLocks noChangeAspect="1" noEditPoints="1"/>
              </p:cNvSpPr>
              <p:nvPr/>
            </p:nvSpPr>
            <p:spPr bwMode="auto">
              <a:xfrm>
                <a:off x="10242275" y="-961788"/>
                <a:ext cx="780141" cy="619510"/>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115947" tIns="57975" rIns="115947" bIns="57975" numCol="1" rtlCol="0" anchor="ctr" anchorCtr="0" compatLnSpc="1">
                <a:prstTxWarp prst="textNoShape">
                  <a:avLst/>
                </a:prstTxWarp>
              </a:bodyPr>
              <a:lstStyle/>
              <a:p>
                <a:pPr defTabSz="1043582">
                  <a:defRPr/>
                </a:pPr>
                <a:endParaRPr lang="en-US" sz="2798" kern="0" spc="-171">
                  <a:solidFill>
                    <a:schemeClr val="bg2"/>
                  </a:solidFill>
                  <a:latin typeface="Segoe Light" pitchFamily="34" charset="0"/>
                </a:endParaRPr>
              </a:p>
            </p:txBody>
          </p:sp>
          <p:pic>
            <p:nvPicPr>
              <p:cNvPr id="68" name="Picture 6" descr="http://www.kizel.com/http:/www.kizel.com/wp-content/img/2010/03/Apple-Logo.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548445" y="-786622"/>
                <a:ext cx="167800" cy="1678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7063606" y="2845621"/>
              <a:ext cx="4353711" cy="1507853"/>
              <a:chOff x="7758291" y="2940514"/>
              <a:chExt cx="3271008" cy="1132871"/>
            </a:xfrm>
          </p:grpSpPr>
          <p:sp>
            <p:nvSpPr>
              <p:cNvPr id="21" name="Rectangle 20"/>
              <p:cNvSpPr/>
              <p:nvPr/>
            </p:nvSpPr>
            <p:spPr bwMode="auto">
              <a:xfrm>
                <a:off x="7758291" y="2948289"/>
                <a:ext cx="1813443" cy="112509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2" rIns="0" bIns="45682" numCol="1" rtlCol="0" anchor="ctr" anchorCtr="0" compatLnSpc="1">
                <a:prstTxWarp prst="textNoShape">
                  <a:avLst/>
                </a:prstTxWarp>
              </a:bodyPr>
              <a:lstStyle/>
              <a:p>
                <a:pPr algn="ctr" defTabSz="913376" fontAlgn="base">
                  <a:spcBef>
                    <a:spcPct val="0"/>
                  </a:spcBef>
                  <a:spcAft>
                    <a:spcPct val="0"/>
                  </a:spcAft>
                </a:pPr>
                <a:r>
                  <a:rPr lang="en-US" sz="1398" b="1" dirty="0">
                    <a:gradFill>
                      <a:gsLst>
                        <a:gs pos="0">
                          <a:srgbClr val="FFFFFF"/>
                        </a:gs>
                        <a:gs pos="100000">
                          <a:srgbClr val="FFFFFF"/>
                        </a:gs>
                      </a:gsLst>
                      <a:lin ang="5400000" scaled="0"/>
                    </a:gradFill>
                  </a:rPr>
                  <a:t>Windows PCs</a:t>
                </a:r>
              </a:p>
              <a:p>
                <a:pPr algn="ctr" defTabSz="913376" fontAlgn="base">
                  <a:spcBef>
                    <a:spcPct val="0"/>
                  </a:spcBef>
                  <a:spcAft>
                    <a:spcPct val="0"/>
                  </a:spcAft>
                </a:pPr>
                <a:r>
                  <a:rPr lang="en-US" sz="1398" dirty="0">
                    <a:gradFill>
                      <a:gsLst>
                        <a:gs pos="0">
                          <a:srgbClr val="FFFFFF"/>
                        </a:gs>
                        <a:gs pos="100000">
                          <a:srgbClr val="FFFFFF"/>
                        </a:gs>
                      </a:gsLst>
                      <a:lin ang="5400000" scaled="0"/>
                    </a:gradFill>
                  </a:rPr>
                  <a:t>(x86/64, Intel </a:t>
                </a:r>
                <a:r>
                  <a:rPr lang="en-US" sz="1398" dirty="0" err="1">
                    <a:gradFill>
                      <a:gsLst>
                        <a:gs pos="0">
                          <a:srgbClr val="FFFFFF"/>
                        </a:gs>
                        <a:gs pos="100000">
                          <a:srgbClr val="FFFFFF"/>
                        </a:gs>
                      </a:gsLst>
                      <a:lin ang="5400000" scaled="0"/>
                    </a:gradFill>
                  </a:rPr>
                  <a:t>SoC</a:t>
                </a:r>
                <a:r>
                  <a:rPr lang="en-US" sz="1398" dirty="0">
                    <a:gradFill>
                      <a:gsLst>
                        <a:gs pos="0">
                          <a:srgbClr val="FFFFFF"/>
                        </a:gs>
                        <a:gs pos="100000">
                          <a:srgbClr val="FFFFFF"/>
                        </a:gs>
                      </a:gsLst>
                      <a:lin ang="5400000" scaled="0"/>
                    </a:gradFill>
                  </a:rPr>
                  <a:t>), </a:t>
                </a:r>
              </a:p>
              <a:p>
                <a:pPr algn="ctr" defTabSz="913376" fontAlgn="base">
                  <a:spcBef>
                    <a:spcPct val="0"/>
                  </a:spcBef>
                  <a:spcAft>
                    <a:spcPct val="0"/>
                  </a:spcAft>
                </a:pPr>
                <a:r>
                  <a:rPr lang="en-US" sz="1398" dirty="0">
                    <a:gradFill>
                      <a:gsLst>
                        <a:gs pos="0">
                          <a:srgbClr val="FFFFFF"/>
                        </a:gs>
                        <a:gs pos="100000">
                          <a:srgbClr val="FFFFFF"/>
                        </a:gs>
                      </a:gsLst>
                      <a:lin ang="5400000" scaled="0"/>
                    </a:gradFill>
                  </a:rPr>
                  <a:t>Windows to Go</a:t>
                </a:r>
              </a:p>
              <a:p>
                <a:pPr algn="ctr" defTabSz="913376" fontAlgn="base">
                  <a:spcBef>
                    <a:spcPct val="0"/>
                  </a:spcBef>
                  <a:spcAft>
                    <a:spcPct val="0"/>
                  </a:spcAft>
                </a:pPr>
                <a:r>
                  <a:rPr lang="en-US" sz="1398" dirty="0">
                    <a:gradFill>
                      <a:gsLst>
                        <a:gs pos="0">
                          <a:srgbClr val="FFFFFF"/>
                        </a:gs>
                        <a:gs pos="100000">
                          <a:srgbClr val="FFFFFF"/>
                        </a:gs>
                      </a:gsLst>
                      <a:lin ang="5400000" scaled="0"/>
                    </a:gradFill>
                  </a:rPr>
                  <a:t>Windows Embedded</a:t>
                </a:r>
              </a:p>
              <a:p>
                <a:pPr algn="ctr" defTabSz="913376" fontAlgn="base">
                  <a:spcBef>
                    <a:spcPct val="0"/>
                  </a:spcBef>
                  <a:spcAft>
                    <a:spcPct val="0"/>
                  </a:spcAft>
                </a:pPr>
                <a:endParaRPr lang="en-US" sz="1398" dirty="0">
                  <a:gradFill>
                    <a:gsLst>
                      <a:gs pos="0">
                        <a:srgbClr val="FFFFFF"/>
                      </a:gs>
                      <a:gs pos="100000">
                        <a:srgbClr val="FFFFFF"/>
                      </a:gs>
                    </a:gsLst>
                    <a:lin ang="5400000" scaled="0"/>
                  </a:gradFill>
                </a:endParaRPr>
              </a:p>
              <a:p>
                <a:pPr algn="ctr" defTabSz="913376" fontAlgn="base">
                  <a:spcBef>
                    <a:spcPct val="0"/>
                  </a:spcBef>
                  <a:spcAft>
                    <a:spcPct val="0"/>
                  </a:spcAft>
                </a:pPr>
                <a:r>
                  <a:rPr lang="en-US" sz="1398" b="1" dirty="0">
                    <a:gradFill>
                      <a:gsLst>
                        <a:gs pos="0">
                          <a:srgbClr val="FFFFFF"/>
                        </a:gs>
                        <a:gs pos="100000">
                          <a:srgbClr val="FFFFFF"/>
                        </a:gs>
                      </a:gsLst>
                      <a:lin ang="5400000" scaled="0"/>
                    </a:gradFill>
                  </a:rPr>
                  <a:t>Mac OS X</a:t>
                </a:r>
              </a:p>
            </p:txBody>
          </p:sp>
          <p:grpSp>
            <p:nvGrpSpPr>
              <p:cNvPr id="17" name="Group 16"/>
              <p:cNvGrpSpPr/>
              <p:nvPr/>
            </p:nvGrpSpPr>
            <p:grpSpPr>
              <a:xfrm>
                <a:off x="9731279" y="2940514"/>
                <a:ext cx="1298020" cy="444195"/>
                <a:chOff x="10184101" y="2680957"/>
                <a:chExt cx="1727664" cy="591225"/>
              </a:xfrm>
            </p:grpSpPr>
            <p:grpSp>
              <p:nvGrpSpPr>
                <p:cNvPr id="63" name="Group 62"/>
                <p:cNvGrpSpPr/>
                <p:nvPr/>
              </p:nvGrpSpPr>
              <p:grpSpPr>
                <a:xfrm>
                  <a:off x="11268143" y="2775926"/>
                  <a:ext cx="643622" cy="496256"/>
                  <a:chOff x="13956664" y="2531689"/>
                  <a:chExt cx="483562" cy="372844"/>
                </a:xfrm>
              </p:grpSpPr>
              <p:sp>
                <p:nvSpPr>
                  <p:cNvPr id="76" name="Round Same Side Corner Rectangle 11"/>
                  <p:cNvSpPr/>
                  <p:nvPr/>
                </p:nvSpPr>
                <p:spPr>
                  <a:xfrm>
                    <a:off x="13993624" y="2531689"/>
                    <a:ext cx="409640" cy="28388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913675">
                      <a:defRPr/>
                    </a:pPr>
                    <a:endParaRPr lang="en-US" sz="1798" kern="0">
                      <a:solidFill>
                        <a:schemeClr val="bg2"/>
                      </a:solidFill>
                      <a:latin typeface="Segoe UI"/>
                    </a:endParaRPr>
                  </a:p>
                </p:txBody>
              </p:sp>
              <p:sp>
                <p:nvSpPr>
                  <p:cNvPr id="77" name="Trapezoid 12"/>
                  <p:cNvSpPr/>
                  <p:nvPr/>
                </p:nvSpPr>
                <p:spPr>
                  <a:xfrm>
                    <a:off x="13956664" y="2816992"/>
                    <a:ext cx="483562" cy="66015"/>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913675">
                      <a:defRPr/>
                    </a:pPr>
                    <a:endParaRPr lang="en-US" sz="1798" kern="0">
                      <a:solidFill>
                        <a:schemeClr val="bg2"/>
                      </a:solidFill>
                      <a:latin typeface="Segoe UI"/>
                    </a:endParaRPr>
                  </a:p>
                </p:txBody>
              </p:sp>
              <p:sp>
                <p:nvSpPr>
                  <p:cNvPr id="78" name="Rectangle 77"/>
                  <p:cNvSpPr/>
                  <p:nvPr/>
                </p:nvSpPr>
                <p:spPr>
                  <a:xfrm>
                    <a:off x="13956878" y="2883007"/>
                    <a:ext cx="483132" cy="21526"/>
                  </a:xfrm>
                  <a:prstGeom prst="rect">
                    <a:avLst/>
                  </a:prstGeom>
                  <a:solidFill>
                    <a:srgbClr val="FFFFFF"/>
                  </a:solidFill>
                  <a:ln w="25400" cap="flat" cmpd="sng" algn="ctr">
                    <a:noFill/>
                    <a:prstDash val="solid"/>
                  </a:ln>
                  <a:effectLst/>
                </p:spPr>
                <p:txBody>
                  <a:bodyPr rtlCol="0" anchor="ctr"/>
                  <a:lstStyle/>
                  <a:p>
                    <a:pPr algn="ctr" defTabSz="913675">
                      <a:defRPr/>
                    </a:pPr>
                    <a:endParaRPr lang="en-US" sz="1798" kern="0">
                      <a:solidFill>
                        <a:schemeClr val="bg2"/>
                      </a:solidFill>
                      <a:latin typeface="Segoe UI"/>
                    </a:endParaRPr>
                  </a:p>
                </p:txBody>
              </p:sp>
            </p:grpSp>
            <p:grpSp>
              <p:nvGrpSpPr>
                <p:cNvPr id="65" name="Group 64"/>
                <p:cNvGrpSpPr/>
                <p:nvPr/>
              </p:nvGrpSpPr>
              <p:grpSpPr>
                <a:xfrm>
                  <a:off x="10184101" y="2680957"/>
                  <a:ext cx="896614" cy="562248"/>
                  <a:chOff x="2908728" y="2458446"/>
                  <a:chExt cx="551783" cy="346012"/>
                </a:xfrm>
              </p:grpSpPr>
              <p:sp>
                <p:nvSpPr>
                  <p:cNvPr id="74" name="Rounded Rectangle 2058"/>
                  <p:cNvSpPr/>
                  <p:nvPr/>
                </p:nvSpPr>
                <p:spPr bwMode="auto">
                  <a:xfrm>
                    <a:off x="3293208" y="2458446"/>
                    <a:ext cx="167303" cy="344744"/>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366" tIns="45684" rIns="45684" bIns="91366" numCol="1" spcCol="0" rtlCol="0" fromWordArt="0" anchor="b" anchorCtr="0" forceAA="0" compatLnSpc="1">
                    <a:prstTxWarp prst="textNoShape">
                      <a:avLst/>
                    </a:prstTxWarp>
                    <a:noAutofit/>
                  </a:bodyPr>
                  <a:lstStyle/>
                  <a:p>
                    <a:pPr algn="ctr" defTabSz="913376" fontAlgn="base">
                      <a:spcBef>
                        <a:spcPct val="0"/>
                      </a:spcBef>
                      <a:spcAft>
                        <a:spcPct val="0"/>
                      </a:spcAft>
                      <a:defRPr/>
                    </a:pPr>
                    <a:endParaRPr lang="en-US" sz="1798" kern="0" spc="-50" dirty="0" err="1">
                      <a:solidFill>
                        <a:srgbClr val="FFFFFF"/>
                      </a:solidFill>
                      <a:latin typeface="Segoe UI" pitchFamily="34" charset="0"/>
                      <a:ea typeface="Segoe UI" pitchFamily="34" charset="0"/>
                      <a:cs typeface="Segoe UI" pitchFamily="34" charset="0"/>
                    </a:endParaRPr>
                  </a:p>
                </p:txBody>
              </p:sp>
              <p:sp>
                <p:nvSpPr>
                  <p:cNvPr id="75" name="Rounded Rectangle 2060"/>
                  <p:cNvSpPr/>
                  <p:nvPr/>
                </p:nvSpPr>
                <p:spPr bwMode="auto">
                  <a:xfrm>
                    <a:off x="2908728" y="2458447"/>
                    <a:ext cx="356324" cy="346011"/>
                  </a:xfrm>
                  <a:custGeom>
                    <a:avLst/>
                    <a:gdLst/>
                    <a:ahLst/>
                    <a:cxnLst/>
                    <a:rect l="l" t="t" r="r" b="b"/>
                    <a:pathLst>
                      <a:path w="542456" h="526753">
                        <a:moveTo>
                          <a:pt x="45804" y="47263"/>
                        </a:moveTo>
                        <a:lnTo>
                          <a:pt x="45804" y="392812"/>
                        </a:lnTo>
                        <a:lnTo>
                          <a:pt x="496653" y="392812"/>
                        </a:lnTo>
                        <a:lnTo>
                          <a:pt x="496653" y="47263"/>
                        </a:lnTo>
                        <a:close/>
                        <a:moveTo>
                          <a:pt x="35310" y="0"/>
                        </a:moveTo>
                        <a:lnTo>
                          <a:pt x="507146" y="0"/>
                        </a:lnTo>
                        <a:cubicBezTo>
                          <a:pt x="526647" y="0"/>
                          <a:pt x="542456" y="15809"/>
                          <a:pt x="542456" y="35310"/>
                        </a:cubicBezTo>
                        <a:lnTo>
                          <a:pt x="542456" y="405128"/>
                        </a:lnTo>
                        <a:cubicBezTo>
                          <a:pt x="542456" y="424629"/>
                          <a:pt x="526647" y="440438"/>
                          <a:pt x="507146" y="440438"/>
                        </a:cubicBezTo>
                        <a:lnTo>
                          <a:pt x="325203" y="440438"/>
                        </a:lnTo>
                        <a:lnTo>
                          <a:pt x="325203" y="485340"/>
                        </a:lnTo>
                        <a:cubicBezTo>
                          <a:pt x="383488" y="490959"/>
                          <a:pt x="432800" y="506124"/>
                          <a:pt x="463161" y="526753"/>
                        </a:cubicBezTo>
                        <a:lnTo>
                          <a:pt x="79298" y="526753"/>
                        </a:lnTo>
                        <a:cubicBezTo>
                          <a:pt x="109659" y="506125"/>
                          <a:pt x="158970" y="490959"/>
                          <a:pt x="217253" y="485341"/>
                        </a:cubicBezTo>
                        <a:lnTo>
                          <a:pt x="217253" y="440438"/>
                        </a:lnTo>
                        <a:lnTo>
                          <a:pt x="35310" y="440438"/>
                        </a:lnTo>
                        <a:cubicBezTo>
                          <a:pt x="15809" y="440438"/>
                          <a:pt x="0" y="424629"/>
                          <a:pt x="0" y="405128"/>
                        </a:cubicBezTo>
                        <a:lnTo>
                          <a:pt x="0" y="35310"/>
                        </a:lnTo>
                        <a:cubicBezTo>
                          <a:pt x="0" y="15809"/>
                          <a:pt x="15809" y="0"/>
                          <a:pt x="3531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366" tIns="45684" rIns="45684" bIns="91366" numCol="1" spcCol="0" rtlCol="0" fromWordArt="0" anchor="b" anchorCtr="0" forceAA="0" compatLnSpc="1">
                    <a:prstTxWarp prst="textNoShape">
                      <a:avLst/>
                    </a:prstTxWarp>
                    <a:noAutofit/>
                  </a:bodyPr>
                  <a:lstStyle/>
                  <a:p>
                    <a:pPr algn="ctr" defTabSz="913376" fontAlgn="base">
                      <a:spcBef>
                        <a:spcPct val="0"/>
                      </a:spcBef>
                      <a:spcAft>
                        <a:spcPct val="0"/>
                      </a:spcAft>
                      <a:defRPr/>
                    </a:pPr>
                    <a:endParaRPr lang="en-US" sz="1798" kern="0" spc="-50" dirty="0" err="1">
                      <a:solidFill>
                        <a:srgbClr val="FFFFFF"/>
                      </a:solidFill>
                      <a:latin typeface="Segoe UI" pitchFamily="34" charset="0"/>
                      <a:ea typeface="Segoe UI" pitchFamily="34" charset="0"/>
                      <a:cs typeface="Segoe UI" pitchFamily="34" charset="0"/>
                    </a:endParaRPr>
                  </a:p>
                </p:txBody>
              </p:sp>
            </p:grpSp>
            <p:grpSp>
              <p:nvGrpSpPr>
                <p:cNvPr id="80" name="Group 79"/>
                <p:cNvGrpSpPr/>
                <p:nvPr/>
              </p:nvGrpSpPr>
              <p:grpSpPr>
                <a:xfrm>
                  <a:off x="10386474" y="2832775"/>
                  <a:ext cx="193434" cy="169468"/>
                  <a:chOff x="3432110" y="2063149"/>
                  <a:chExt cx="3428125" cy="3003387"/>
                </a:xfrm>
              </p:grpSpPr>
              <p:sp>
                <p:nvSpPr>
                  <p:cNvPr id="81" name="Freeform 23"/>
                  <p:cNvSpPr>
                    <a:spLocks/>
                  </p:cNvSpPr>
                  <p:nvPr/>
                </p:nvSpPr>
                <p:spPr bwMode="auto">
                  <a:xfrm>
                    <a:off x="3867543" y="2063149"/>
                    <a:ext cx="1567240" cy="1341459"/>
                  </a:xfrm>
                  <a:custGeom>
                    <a:avLst/>
                    <a:gdLst>
                      <a:gd name="T0" fmla="*/ 125 w 210"/>
                      <a:gd name="T1" fmla="*/ 0 h 180"/>
                      <a:gd name="T2" fmla="*/ 146 w 210"/>
                      <a:gd name="T3" fmla="*/ 1 h 180"/>
                      <a:gd name="T4" fmla="*/ 164 w 210"/>
                      <a:gd name="T5" fmla="*/ 5 h 180"/>
                      <a:gd name="T6" fmla="*/ 181 w 210"/>
                      <a:gd name="T7" fmla="*/ 12 h 180"/>
                      <a:gd name="T8" fmla="*/ 197 w 210"/>
                      <a:gd name="T9" fmla="*/ 20 h 180"/>
                      <a:gd name="T10" fmla="*/ 210 w 210"/>
                      <a:gd name="T11" fmla="*/ 30 h 180"/>
                      <a:gd name="T12" fmla="*/ 168 w 210"/>
                      <a:gd name="T13" fmla="*/ 180 h 180"/>
                      <a:gd name="T14" fmla="*/ 153 w 210"/>
                      <a:gd name="T15" fmla="*/ 172 h 180"/>
                      <a:gd name="T16" fmla="*/ 137 w 210"/>
                      <a:gd name="T17" fmla="*/ 164 h 180"/>
                      <a:gd name="T18" fmla="*/ 121 w 210"/>
                      <a:gd name="T19" fmla="*/ 157 h 180"/>
                      <a:gd name="T20" fmla="*/ 102 w 210"/>
                      <a:gd name="T21" fmla="*/ 153 h 180"/>
                      <a:gd name="T22" fmla="*/ 81 w 210"/>
                      <a:gd name="T23" fmla="*/ 151 h 180"/>
                      <a:gd name="T24" fmla="*/ 58 w 210"/>
                      <a:gd name="T25" fmla="*/ 154 h 180"/>
                      <a:gd name="T26" fmla="*/ 30 w 210"/>
                      <a:gd name="T27" fmla="*/ 160 h 180"/>
                      <a:gd name="T28" fmla="*/ 0 w 210"/>
                      <a:gd name="T29" fmla="*/ 171 h 180"/>
                      <a:gd name="T30" fmla="*/ 44 w 210"/>
                      <a:gd name="T31" fmla="*/ 19 h 180"/>
                      <a:gd name="T32" fmla="*/ 74 w 210"/>
                      <a:gd name="T33" fmla="*/ 8 h 180"/>
                      <a:gd name="T34" fmla="*/ 102 w 210"/>
                      <a:gd name="T35" fmla="*/ 3 h 180"/>
                      <a:gd name="T36" fmla="*/ 125 w 210"/>
                      <a:gd name="T3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0" h="180">
                        <a:moveTo>
                          <a:pt x="125" y="0"/>
                        </a:moveTo>
                        <a:lnTo>
                          <a:pt x="146" y="1"/>
                        </a:lnTo>
                        <a:lnTo>
                          <a:pt x="164" y="5"/>
                        </a:lnTo>
                        <a:lnTo>
                          <a:pt x="181" y="12"/>
                        </a:lnTo>
                        <a:lnTo>
                          <a:pt x="197" y="20"/>
                        </a:lnTo>
                        <a:lnTo>
                          <a:pt x="210" y="30"/>
                        </a:lnTo>
                        <a:lnTo>
                          <a:pt x="168" y="180"/>
                        </a:lnTo>
                        <a:lnTo>
                          <a:pt x="153" y="172"/>
                        </a:lnTo>
                        <a:lnTo>
                          <a:pt x="137" y="164"/>
                        </a:lnTo>
                        <a:lnTo>
                          <a:pt x="121" y="157"/>
                        </a:lnTo>
                        <a:lnTo>
                          <a:pt x="102" y="153"/>
                        </a:lnTo>
                        <a:lnTo>
                          <a:pt x="81" y="151"/>
                        </a:lnTo>
                        <a:lnTo>
                          <a:pt x="58" y="154"/>
                        </a:lnTo>
                        <a:lnTo>
                          <a:pt x="30" y="160"/>
                        </a:lnTo>
                        <a:lnTo>
                          <a:pt x="0" y="171"/>
                        </a:lnTo>
                        <a:lnTo>
                          <a:pt x="44" y="19"/>
                        </a:lnTo>
                        <a:lnTo>
                          <a:pt x="74" y="8"/>
                        </a:lnTo>
                        <a:lnTo>
                          <a:pt x="102" y="3"/>
                        </a:lnTo>
                        <a:lnTo>
                          <a:pt x="125" y="0"/>
                        </a:lnTo>
                        <a:close/>
                      </a:path>
                    </a:pathLst>
                  </a:custGeom>
                  <a:solidFill>
                    <a:srgbClr val="FFFFFF"/>
                  </a:solidFill>
                  <a:ln w="0">
                    <a:noFill/>
                    <a:prstDash val="solid"/>
                    <a:round/>
                    <a:headEnd/>
                    <a:tailEnd/>
                  </a:ln>
                </p:spPr>
                <p:txBody>
                  <a:bodyPr vert="horz" wrap="square" lIns="91366" tIns="45684" rIns="91366" bIns="45684" numCol="1" anchor="t" anchorCtr="0" compatLnSpc="1">
                    <a:prstTxWarp prst="textNoShape">
                      <a:avLst/>
                    </a:prstTxWarp>
                  </a:bodyPr>
                  <a:lstStyle/>
                  <a:p>
                    <a:pPr defTabSz="913487"/>
                    <a:endParaRPr lang="en-US" sz="1898">
                      <a:solidFill>
                        <a:srgbClr val="FFFFFF"/>
                      </a:solidFill>
                    </a:endParaRPr>
                  </a:p>
                </p:txBody>
              </p:sp>
              <p:sp>
                <p:nvSpPr>
                  <p:cNvPr id="82" name="Freeform 24"/>
                  <p:cNvSpPr>
                    <a:spLocks/>
                  </p:cNvSpPr>
                  <p:nvPr/>
                </p:nvSpPr>
                <p:spPr bwMode="auto">
                  <a:xfrm>
                    <a:off x="3432110" y="3322612"/>
                    <a:ext cx="1699343" cy="1475605"/>
                  </a:xfrm>
                  <a:custGeom>
                    <a:avLst/>
                    <a:gdLst>
                      <a:gd name="T0" fmla="*/ 122 w 207"/>
                      <a:gd name="T1" fmla="*/ 0 h 180"/>
                      <a:gd name="T2" fmla="*/ 143 w 207"/>
                      <a:gd name="T3" fmla="*/ 1 h 180"/>
                      <a:gd name="T4" fmla="*/ 161 w 207"/>
                      <a:gd name="T5" fmla="*/ 5 h 180"/>
                      <a:gd name="T6" fmla="*/ 179 w 207"/>
                      <a:gd name="T7" fmla="*/ 12 h 180"/>
                      <a:gd name="T8" fmla="*/ 194 w 207"/>
                      <a:gd name="T9" fmla="*/ 20 h 180"/>
                      <a:gd name="T10" fmla="*/ 207 w 207"/>
                      <a:gd name="T11" fmla="*/ 30 h 180"/>
                      <a:gd name="T12" fmla="*/ 165 w 207"/>
                      <a:gd name="T13" fmla="*/ 180 h 180"/>
                      <a:gd name="T14" fmla="*/ 151 w 207"/>
                      <a:gd name="T15" fmla="*/ 170 h 180"/>
                      <a:gd name="T16" fmla="*/ 136 w 207"/>
                      <a:gd name="T17" fmla="*/ 162 h 180"/>
                      <a:gd name="T18" fmla="*/ 119 w 207"/>
                      <a:gd name="T19" fmla="*/ 157 h 180"/>
                      <a:gd name="T20" fmla="*/ 102 w 207"/>
                      <a:gd name="T21" fmla="*/ 151 h 180"/>
                      <a:gd name="T22" fmla="*/ 81 w 207"/>
                      <a:gd name="T23" fmla="*/ 150 h 180"/>
                      <a:gd name="T24" fmla="*/ 59 w 207"/>
                      <a:gd name="T25" fmla="*/ 151 h 180"/>
                      <a:gd name="T26" fmla="*/ 33 w 207"/>
                      <a:gd name="T27" fmla="*/ 157 h 180"/>
                      <a:gd name="T28" fmla="*/ 4 w 207"/>
                      <a:gd name="T29" fmla="*/ 168 h 180"/>
                      <a:gd name="T30" fmla="*/ 3 w 207"/>
                      <a:gd name="T31" fmla="*/ 168 h 180"/>
                      <a:gd name="T32" fmla="*/ 1 w 207"/>
                      <a:gd name="T33" fmla="*/ 168 h 180"/>
                      <a:gd name="T34" fmla="*/ 0 w 207"/>
                      <a:gd name="T35" fmla="*/ 166 h 180"/>
                      <a:gd name="T36" fmla="*/ 0 w 207"/>
                      <a:gd name="T37" fmla="*/ 163 h 180"/>
                      <a:gd name="T38" fmla="*/ 0 w 207"/>
                      <a:gd name="T39" fmla="*/ 163 h 180"/>
                      <a:gd name="T40" fmla="*/ 41 w 207"/>
                      <a:gd name="T41" fmla="*/ 19 h 180"/>
                      <a:gd name="T42" fmla="*/ 71 w 207"/>
                      <a:gd name="T43" fmla="*/ 8 h 180"/>
                      <a:gd name="T44" fmla="*/ 99 w 207"/>
                      <a:gd name="T45" fmla="*/ 2 h 180"/>
                      <a:gd name="T46" fmla="*/ 122 w 207"/>
                      <a:gd name="T4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7" h="180">
                        <a:moveTo>
                          <a:pt x="122" y="0"/>
                        </a:moveTo>
                        <a:lnTo>
                          <a:pt x="143" y="1"/>
                        </a:lnTo>
                        <a:lnTo>
                          <a:pt x="161" y="5"/>
                        </a:lnTo>
                        <a:lnTo>
                          <a:pt x="179" y="12"/>
                        </a:lnTo>
                        <a:lnTo>
                          <a:pt x="194" y="20"/>
                        </a:lnTo>
                        <a:lnTo>
                          <a:pt x="207" y="30"/>
                        </a:lnTo>
                        <a:lnTo>
                          <a:pt x="165" y="180"/>
                        </a:lnTo>
                        <a:lnTo>
                          <a:pt x="151" y="170"/>
                        </a:lnTo>
                        <a:lnTo>
                          <a:pt x="136" y="162"/>
                        </a:lnTo>
                        <a:lnTo>
                          <a:pt x="119" y="157"/>
                        </a:lnTo>
                        <a:lnTo>
                          <a:pt x="102" y="151"/>
                        </a:lnTo>
                        <a:lnTo>
                          <a:pt x="81" y="150"/>
                        </a:lnTo>
                        <a:lnTo>
                          <a:pt x="59" y="151"/>
                        </a:lnTo>
                        <a:lnTo>
                          <a:pt x="33" y="157"/>
                        </a:lnTo>
                        <a:lnTo>
                          <a:pt x="4" y="168"/>
                        </a:lnTo>
                        <a:lnTo>
                          <a:pt x="3" y="168"/>
                        </a:lnTo>
                        <a:lnTo>
                          <a:pt x="1" y="168"/>
                        </a:lnTo>
                        <a:lnTo>
                          <a:pt x="0" y="166"/>
                        </a:lnTo>
                        <a:lnTo>
                          <a:pt x="0" y="163"/>
                        </a:lnTo>
                        <a:lnTo>
                          <a:pt x="0" y="163"/>
                        </a:lnTo>
                        <a:lnTo>
                          <a:pt x="41" y="19"/>
                        </a:lnTo>
                        <a:lnTo>
                          <a:pt x="71" y="8"/>
                        </a:lnTo>
                        <a:lnTo>
                          <a:pt x="99" y="2"/>
                        </a:lnTo>
                        <a:lnTo>
                          <a:pt x="122" y="0"/>
                        </a:lnTo>
                        <a:close/>
                      </a:path>
                    </a:pathLst>
                  </a:custGeom>
                  <a:solidFill>
                    <a:srgbClr val="FFFFFF"/>
                  </a:solidFill>
                  <a:ln w="0">
                    <a:noFill/>
                    <a:prstDash val="solid"/>
                    <a:round/>
                    <a:headEnd/>
                    <a:tailEnd/>
                  </a:ln>
                </p:spPr>
                <p:txBody>
                  <a:bodyPr vert="horz" wrap="square" lIns="91366" tIns="45684" rIns="91366" bIns="45684" numCol="1" anchor="t" anchorCtr="0" compatLnSpc="1">
                    <a:prstTxWarp prst="textNoShape">
                      <a:avLst/>
                    </a:prstTxWarp>
                  </a:bodyPr>
                  <a:lstStyle/>
                  <a:p>
                    <a:pPr defTabSz="913487"/>
                    <a:endParaRPr lang="en-US" sz="1898">
                      <a:solidFill>
                        <a:srgbClr val="FFFFFF"/>
                      </a:solidFill>
                    </a:endParaRPr>
                  </a:p>
                </p:txBody>
              </p:sp>
              <p:sp>
                <p:nvSpPr>
                  <p:cNvPr id="83" name="Freeform 25"/>
                  <p:cNvSpPr>
                    <a:spLocks/>
                  </p:cNvSpPr>
                  <p:nvPr/>
                </p:nvSpPr>
                <p:spPr bwMode="auto">
                  <a:xfrm>
                    <a:off x="4904914" y="3725077"/>
                    <a:ext cx="1574708" cy="1341459"/>
                  </a:xfrm>
                  <a:custGeom>
                    <a:avLst/>
                    <a:gdLst>
                      <a:gd name="T0" fmla="*/ 44 w 211"/>
                      <a:gd name="T1" fmla="*/ 0 h 180"/>
                      <a:gd name="T2" fmla="*/ 58 w 211"/>
                      <a:gd name="T3" fmla="*/ 10 h 180"/>
                      <a:gd name="T4" fmla="*/ 73 w 211"/>
                      <a:gd name="T5" fmla="*/ 18 h 180"/>
                      <a:gd name="T6" fmla="*/ 91 w 211"/>
                      <a:gd name="T7" fmla="*/ 23 h 180"/>
                      <a:gd name="T8" fmla="*/ 108 w 211"/>
                      <a:gd name="T9" fmla="*/ 29 h 180"/>
                      <a:gd name="T10" fmla="*/ 129 w 211"/>
                      <a:gd name="T11" fmla="*/ 29 h 180"/>
                      <a:gd name="T12" fmla="*/ 154 w 211"/>
                      <a:gd name="T13" fmla="*/ 28 h 180"/>
                      <a:gd name="T14" fmla="*/ 180 w 211"/>
                      <a:gd name="T15" fmla="*/ 21 h 180"/>
                      <a:gd name="T16" fmla="*/ 211 w 211"/>
                      <a:gd name="T17" fmla="*/ 10 h 180"/>
                      <a:gd name="T18" fmla="*/ 167 w 211"/>
                      <a:gd name="T19" fmla="*/ 161 h 180"/>
                      <a:gd name="T20" fmla="*/ 137 w 211"/>
                      <a:gd name="T21" fmla="*/ 172 h 180"/>
                      <a:gd name="T22" fmla="*/ 110 w 211"/>
                      <a:gd name="T23" fmla="*/ 178 h 180"/>
                      <a:gd name="T24" fmla="*/ 86 w 211"/>
                      <a:gd name="T25" fmla="*/ 180 h 180"/>
                      <a:gd name="T26" fmla="*/ 66 w 211"/>
                      <a:gd name="T27" fmla="*/ 179 h 180"/>
                      <a:gd name="T28" fmla="*/ 47 w 211"/>
                      <a:gd name="T29" fmla="*/ 175 h 180"/>
                      <a:gd name="T30" fmla="*/ 30 w 211"/>
                      <a:gd name="T31" fmla="*/ 168 h 180"/>
                      <a:gd name="T32" fmla="*/ 15 w 211"/>
                      <a:gd name="T33" fmla="*/ 160 h 180"/>
                      <a:gd name="T34" fmla="*/ 0 w 211"/>
                      <a:gd name="T35" fmla="*/ 150 h 180"/>
                      <a:gd name="T36" fmla="*/ 44 w 211"/>
                      <a:gd name="T3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1" h="180">
                        <a:moveTo>
                          <a:pt x="44" y="0"/>
                        </a:moveTo>
                        <a:lnTo>
                          <a:pt x="58" y="10"/>
                        </a:lnTo>
                        <a:lnTo>
                          <a:pt x="73" y="18"/>
                        </a:lnTo>
                        <a:lnTo>
                          <a:pt x="91" y="23"/>
                        </a:lnTo>
                        <a:lnTo>
                          <a:pt x="108" y="29"/>
                        </a:lnTo>
                        <a:lnTo>
                          <a:pt x="129" y="29"/>
                        </a:lnTo>
                        <a:lnTo>
                          <a:pt x="154" y="28"/>
                        </a:lnTo>
                        <a:lnTo>
                          <a:pt x="180" y="21"/>
                        </a:lnTo>
                        <a:lnTo>
                          <a:pt x="211" y="10"/>
                        </a:lnTo>
                        <a:lnTo>
                          <a:pt x="167" y="161"/>
                        </a:lnTo>
                        <a:lnTo>
                          <a:pt x="137" y="172"/>
                        </a:lnTo>
                        <a:lnTo>
                          <a:pt x="110" y="178"/>
                        </a:lnTo>
                        <a:lnTo>
                          <a:pt x="86" y="180"/>
                        </a:lnTo>
                        <a:lnTo>
                          <a:pt x="66" y="179"/>
                        </a:lnTo>
                        <a:lnTo>
                          <a:pt x="47" y="175"/>
                        </a:lnTo>
                        <a:lnTo>
                          <a:pt x="30" y="168"/>
                        </a:lnTo>
                        <a:lnTo>
                          <a:pt x="15" y="160"/>
                        </a:lnTo>
                        <a:lnTo>
                          <a:pt x="0" y="150"/>
                        </a:lnTo>
                        <a:lnTo>
                          <a:pt x="44" y="0"/>
                        </a:lnTo>
                        <a:close/>
                      </a:path>
                    </a:pathLst>
                  </a:custGeom>
                  <a:solidFill>
                    <a:srgbClr val="FFFFFF"/>
                  </a:solidFill>
                  <a:ln w="0">
                    <a:noFill/>
                    <a:prstDash val="solid"/>
                    <a:round/>
                    <a:headEnd/>
                    <a:tailEnd/>
                  </a:ln>
                </p:spPr>
                <p:txBody>
                  <a:bodyPr vert="horz" wrap="square" lIns="91366" tIns="45684" rIns="91366" bIns="45684" numCol="1" anchor="t" anchorCtr="0" compatLnSpc="1">
                    <a:prstTxWarp prst="textNoShape">
                      <a:avLst/>
                    </a:prstTxWarp>
                  </a:bodyPr>
                  <a:lstStyle/>
                  <a:p>
                    <a:pPr defTabSz="913487"/>
                    <a:endParaRPr lang="en-US" sz="1898">
                      <a:solidFill>
                        <a:srgbClr val="FFFFFF"/>
                      </a:solidFill>
                    </a:endParaRPr>
                  </a:p>
                </p:txBody>
              </p:sp>
              <p:sp>
                <p:nvSpPr>
                  <p:cNvPr id="84" name="Freeform 26"/>
                  <p:cNvSpPr>
                    <a:spLocks/>
                  </p:cNvSpPr>
                  <p:nvPr/>
                </p:nvSpPr>
                <p:spPr bwMode="auto">
                  <a:xfrm>
                    <a:off x="5285527" y="2398516"/>
                    <a:ext cx="1574708" cy="1356367"/>
                  </a:xfrm>
                  <a:custGeom>
                    <a:avLst/>
                    <a:gdLst>
                      <a:gd name="T0" fmla="*/ 44 w 211"/>
                      <a:gd name="T1" fmla="*/ 0 h 182"/>
                      <a:gd name="T2" fmla="*/ 57 w 211"/>
                      <a:gd name="T3" fmla="*/ 10 h 182"/>
                      <a:gd name="T4" fmla="*/ 72 w 211"/>
                      <a:gd name="T5" fmla="*/ 18 h 182"/>
                      <a:gd name="T6" fmla="*/ 89 w 211"/>
                      <a:gd name="T7" fmla="*/ 25 h 182"/>
                      <a:gd name="T8" fmla="*/ 108 w 211"/>
                      <a:gd name="T9" fmla="*/ 29 h 182"/>
                      <a:gd name="T10" fmla="*/ 129 w 211"/>
                      <a:gd name="T11" fmla="*/ 31 h 182"/>
                      <a:gd name="T12" fmla="*/ 152 w 211"/>
                      <a:gd name="T13" fmla="*/ 28 h 182"/>
                      <a:gd name="T14" fmla="*/ 180 w 211"/>
                      <a:gd name="T15" fmla="*/ 22 h 182"/>
                      <a:gd name="T16" fmla="*/ 211 w 211"/>
                      <a:gd name="T17" fmla="*/ 11 h 182"/>
                      <a:gd name="T18" fmla="*/ 167 w 211"/>
                      <a:gd name="T19" fmla="*/ 161 h 182"/>
                      <a:gd name="T20" fmla="*/ 137 w 211"/>
                      <a:gd name="T21" fmla="*/ 172 h 182"/>
                      <a:gd name="T22" fmla="*/ 110 w 211"/>
                      <a:gd name="T23" fmla="*/ 179 h 182"/>
                      <a:gd name="T24" fmla="*/ 86 w 211"/>
                      <a:gd name="T25" fmla="*/ 182 h 182"/>
                      <a:gd name="T26" fmla="*/ 66 w 211"/>
                      <a:gd name="T27" fmla="*/ 181 h 182"/>
                      <a:gd name="T28" fmla="*/ 46 w 211"/>
                      <a:gd name="T29" fmla="*/ 175 h 182"/>
                      <a:gd name="T30" fmla="*/ 30 w 211"/>
                      <a:gd name="T31" fmla="*/ 170 h 182"/>
                      <a:gd name="T32" fmla="*/ 15 w 211"/>
                      <a:gd name="T33" fmla="*/ 161 h 182"/>
                      <a:gd name="T34" fmla="*/ 0 w 211"/>
                      <a:gd name="T35" fmla="*/ 152 h 182"/>
                      <a:gd name="T36" fmla="*/ 44 w 211"/>
                      <a:gd name="T3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1" h="182">
                        <a:moveTo>
                          <a:pt x="44" y="0"/>
                        </a:moveTo>
                        <a:lnTo>
                          <a:pt x="57" y="10"/>
                        </a:lnTo>
                        <a:lnTo>
                          <a:pt x="72" y="18"/>
                        </a:lnTo>
                        <a:lnTo>
                          <a:pt x="89" y="25"/>
                        </a:lnTo>
                        <a:lnTo>
                          <a:pt x="108" y="29"/>
                        </a:lnTo>
                        <a:lnTo>
                          <a:pt x="129" y="31"/>
                        </a:lnTo>
                        <a:lnTo>
                          <a:pt x="152" y="28"/>
                        </a:lnTo>
                        <a:lnTo>
                          <a:pt x="180" y="22"/>
                        </a:lnTo>
                        <a:lnTo>
                          <a:pt x="211" y="11"/>
                        </a:lnTo>
                        <a:lnTo>
                          <a:pt x="167" y="161"/>
                        </a:lnTo>
                        <a:lnTo>
                          <a:pt x="137" y="172"/>
                        </a:lnTo>
                        <a:lnTo>
                          <a:pt x="110" y="179"/>
                        </a:lnTo>
                        <a:lnTo>
                          <a:pt x="86" y="182"/>
                        </a:lnTo>
                        <a:lnTo>
                          <a:pt x="66" y="181"/>
                        </a:lnTo>
                        <a:lnTo>
                          <a:pt x="46" y="175"/>
                        </a:lnTo>
                        <a:lnTo>
                          <a:pt x="30" y="170"/>
                        </a:lnTo>
                        <a:lnTo>
                          <a:pt x="15" y="161"/>
                        </a:lnTo>
                        <a:lnTo>
                          <a:pt x="0" y="152"/>
                        </a:lnTo>
                        <a:lnTo>
                          <a:pt x="44" y="0"/>
                        </a:lnTo>
                        <a:close/>
                      </a:path>
                    </a:pathLst>
                  </a:custGeom>
                  <a:solidFill>
                    <a:srgbClr val="FFFFFF"/>
                  </a:solidFill>
                  <a:ln w="0">
                    <a:noFill/>
                    <a:prstDash val="solid"/>
                    <a:round/>
                    <a:headEnd/>
                    <a:tailEnd/>
                  </a:ln>
                </p:spPr>
                <p:txBody>
                  <a:bodyPr vert="horz" wrap="square" lIns="91366" tIns="45684" rIns="91366" bIns="45684" numCol="1" anchor="t" anchorCtr="0" compatLnSpc="1">
                    <a:prstTxWarp prst="textNoShape">
                      <a:avLst/>
                    </a:prstTxWarp>
                  </a:bodyPr>
                  <a:lstStyle/>
                  <a:p>
                    <a:pPr defTabSz="913487"/>
                    <a:endParaRPr lang="en-US" sz="1898">
                      <a:solidFill>
                        <a:srgbClr val="FFFFFF"/>
                      </a:solidFill>
                    </a:endParaRPr>
                  </a:p>
                </p:txBody>
              </p:sp>
            </p:grpSp>
            <p:pic>
              <p:nvPicPr>
                <p:cNvPr id="85" name="Picture 84"/>
                <p:cNvPicPr>
                  <a:picLocks noChangeAspect="1" noChangeArrowheads="1"/>
                </p:cNvPicPr>
                <p:nvPr/>
              </p:nvPicPr>
              <p:blipFill rotWithShape="1">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r="68617"/>
                <a:stretch/>
              </p:blipFill>
              <p:spPr bwMode="auto">
                <a:xfrm>
                  <a:off x="11390729" y="2804954"/>
                  <a:ext cx="309407" cy="358603"/>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16" name="Straight Connector 15"/>
            <p:cNvCxnSpPr/>
            <p:nvPr/>
          </p:nvCxnSpPr>
          <p:spPr>
            <a:xfrm>
              <a:off x="7173065" y="2908729"/>
              <a:ext cx="0" cy="1264790"/>
            </a:xfrm>
            <a:prstGeom prst="line">
              <a:avLst/>
            </a:prstGeom>
            <a:ln w="19050" cap="rnd" cmpd="sng">
              <a:solidFill>
                <a:schemeClr val="tx1"/>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cxnSp>
        <p:nvCxnSpPr>
          <p:cNvPr id="88" name="Straight Arrow Connector 87"/>
          <p:cNvCxnSpPr/>
          <p:nvPr/>
        </p:nvCxnSpPr>
        <p:spPr>
          <a:xfrm>
            <a:off x="6690984" y="3127618"/>
            <a:ext cx="287766" cy="0"/>
          </a:xfrm>
          <a:prstGeom prst="straightConnector1">
            <a:avLst/>
          </a:prstGeom>
          <a:ln w="19050" cap="rnd" cmpd="sng">
            <a:solidFill>
              <a:schemeClr val="tx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6690984" y="5154987"/>
            <a:ext cx="287766" cy="0"/>
          </a:xfrm>
          <a:prstGeom prst="straightConnector1">
            <a:avLst/>
          </a:prstGeom>
          <a:ln w="19050" cap="rnd" cmpd="sng">
            <a:solidFill>
              <a:schemeClr val="tx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6924917" y="4517278"/>
            <a:ext cx="4420418" cy="1496300"/>
            <a:chOff x="6925482" y="4874656"/>
            <a:chExt cx="4423977" cy="1497504"/>
          </a:xfrm>
        </p:grpSpPr>
        <p:sp>
          <p:nvSpPr>
            <p:cNvPr id="19" name="Rectangle 18"/>
            <p:cNvSpPr/>
            <p:nvPr/>
          </p:nvSpPr>
          <p:spPr bwMode="auto">
            <a:xfrm>
              <a:off x="6925482" y="4874656"/>
              <a:ext cx="2639187" cy="149750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682" rIns="0" bIns="45682" numCol="1" rtlCol="0" anchor="ctr" anchorCtr="0" compatLnSpc="1">
              <a:prstTxWarp prst="textNoShape">
                <a:avLst/>
              </a:prstTxWarp>
            </a:bodyPr>
            <a:lstStyle/>
            <a:p>
              <a:pPr algn="ctr" defTabSz="913376" fontAlgn="base">
                <a:spcBef>
                  <a:spcPct val="0"/>
                </a:spcBef>
                <a:spcAft>
                  <a:spcPct val="0"/>
                </a:spcAft>
              </a:pPr>
              <a:endParaRPr lang="en-US" sz="1398" b="1" dirty="0">
                <a:gradFill>
                  <a:gsLst>
                    <a:gs pos="0">
                      <a:srgbClr val="FFFFFF"/>
                    </a:gs>
                    <a:gs pos="100000">
                      <a:srgbClr val="FFFFFF"/>
                    </a:gs>
                  </a:gsLst>
                  <a:lin ang="5400000" scaled="0"/>
                </a:gradFill>
              </a:endParaRPr>
            </a:p>
            <a:p>
              <a:pPr algn="ctr" defTabSz="913376" fontAlgn="base">
                <a:spcBef>
                  <a:spcPct val="0"/>
                </a:spcBef>
                <a:spcAft>
                  <a:spcPct val="0"/>
                </a:spcAft>
              </a:pPr>
              <a:r>
                <a:rPr lang="en-US" sz="1398" b="1" dirty="0">
                  <a:gradFill>
                    <a:gsLst>
                      <a:gs pos="0">
                        <a:srgbClr val="FFFFFF"/>
                      </a:gs>
                      <a:gs pos="100000">
                        <a:srgbClr val="FFFFFF"/>
                      </a:gs>
                    </a:gsLst>
                    <a:lin ang="5400000" scaled="0"/>
                  </a:gradFill>
                </a:rPr>
                <a:t>Windows 8.1 PCs &amp; RT</a:t>
              </a:r>
            </a:p>
            <a:p>
              <a:pPr algn="ctr" defTabSz="913376" fontAlgn="base">
                <a:spcBef>
                  <a:spcPct val="0"/>
                </a:spcBef>
                <a:spcAft>
                  <a:spcPct val="0"/>
                </a:spcAft>
              </a:pPr>
              <a:r>
                <a:rPr lang="en-US" sz="1398" b="1" dirty="0">
                  <a:gradFill>
                    <a:gsLst>
                      <a:gs pos="0">
                        <a:srgbClr val="FFFFFF"/>
                      </a:gs>
                      <a:gs pos="100000">
                        <a:srgbClr val="FFFFFF"/>
                      </a:gs>
                    </a:gsLst>
                    <a:lin ang="5400000" scaled="0"/>
                  </a:gradFill>
                </a:rPr>
                <a:t>Windows Phone 8</a:t>
              </a:r>
              <a:br>
                <a:rPr lang="en-US" sz="1398" b="1" dirty="0">
                  <a:gradFill>
                    <a:gsLst>
                      <a:gs pos="0">
                        <a:srgbClr val="FFFFFF"/>
                      </a:gs>
                      <a:gs pos="100000">
                        <a:srgbClr val="FFFFFF"/>
                      </a:gs>
                    </a:gsLst>
                    <a:lin ang="5400000" scaled="0"/>
                  </a:gradFill>
                </a:rPr>
              </a:br>
              <a:r>
                <a:rPr lang="en-US" sz="1398" b="1" dirty="0" err="1">
                  <a:gradFill>
                    <a:gsLst>
                      <a:gs pos="0">
                        <a:srgbClr val="FFFFFF"/>
                      </a:gs>
                      <a:gs pos="100000">
                        <a:srgbClr val="FFFFFF"/>
                      </a:gs>
                    </a:gsLst>
                    <a:lin ang="5400000" scaled="0"/>
                  </a:gradFill>
                </a:rPr>
                <a:t>iOS</a:t>
              </a:r>
              <a:endParaRPr lang="en-US" sz="1398" b="1" dirty="0">
                <a:gradFill>
                  <a:gsLst>
                    <a:gs pos="0">
                      <a:srgbClr val="FFFFFF"/>
                    </a:gs>
                    <a:gs pos="100000">
                      <a:srgbClr val="FFFFFF"/>
                    </a:gs>
                  </a:gsLst>
                  <a:lin ang="5400000" scaled="0"/>
                </a:gradFill>
              </a:endParaRPr>
            </a:p>
            <a:p>
              <a:pPr algn="ctr" defTabSz="913376" fontAlgn="base">
                <a:spcBef>
                  <a:spcPct val="0"/>
                </a:spcBef>
                <a:spcAft>
                  <a:spcPct val="0"/>
                </a:spcAft>
              </a:pPr>
              <a:r>
                <a:rPr lang="en-US" sz="1398" b="1" dirty="0">
                  <a:gradFill>
                    <a:gsLst>
                      <a:gs pos="0">
                        <a:srgbClr val="FFFFFF"/>
                      </a:gs>
                      <a:gs pos="100000">
                        <a:srgbClr val="FFFFFF"/>
                      </a:gs>
                    </a:gsLst>
                    <a:lin ang="5400000" scaled="0"/>
                  </a:gradFill>
                </a:rPr>
                <a:t>Android</a:t>
              </a:r>
            </a:p>
          </p:txBody>
        </p:sp>
        <p:cxnSp>
          <p:nvCxnSpPr>
            <p:cNvPr id="86" name="Straight Connector 85"/>
            <p:cNvCxnSpPr/>
            <p:nvPr/>
          </p:nvCxnSpPr>
          <p:spPr>
            <a:xfrm>
              <a:off x="7173065" y="5055459"/>
              <a:ext cx="0" cy="950255"/>
            </a:xfrm>
            <a:prstGeom prst="line">
              <a:avLst/>
            </a:prstGeom>
            <a:ln w="19050" cap="rnd" cmpd="sng">
              <a:solidFill>
                <a:schemeClr val="tx1"/>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9298704" y="5386947"/>
              <a:ext cx="2050755" cy="584290"/>
              <a:chOff x="9298704" y="5386947"/>
              <a:chExt cx="2050755" cy="584290"/>
            </a:xfrm>
          </p:grpSpPr>
          <p:grpSp>
            <p:nvGrpSpPr>
              <p:cNvPr id="10" name="Group 9"/>
              <p:cNvGrpSpPr/>
              <p:nvPr/>
            </p:nvGrpSpPr>
            <p:grpSpPr>
              <a:xfrm>
                <a:off x="9298704" y="5386947"/>
                <a:ext cx="363464" cy="552246"/>
                <a:chOff x="9707868" y="5386947"/>
                <a:chExt cx="363464" cy="552246"/>
              </a:xfrm>
            </p:grpSpPr>
            <p:sp>
              <p:nvSpPr>
                <p:cNvPr id="62" name="Freeform 107"/>
                <p:cNvSpPr>
                  <a:spLocks noEditPoints="1"/>
                </p:cNvSpPr>
                <p:nvPr/>
              </p:nvSpPr>
              <p:spPr bwMode="auto">
                <a:xfrm rot="5400000">
                  <a:off x="9614027" y="5481888"/>
                  <a:ext cx="552246" cy="362364"/>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5953" tIns="57977" rIns="115953" bIns="57977" numCol="1" anchor="t" anchorCtr="0" compatLnSpc="1">
                  <a:prstTxWarp prst="textNoShape">
                    <a:avLst/>
                  </a:prstTxWarp>
                </a:bodyPr>
                <a:lstStyle/>
                <a:p>
                  <a:pPr defTabSz="913675">
                    <a:defRPr/>
                  </a:pPr>
                  <a:endParaRPr lang="en-US" sz="1798" kern="0" dirty="0">
                    <a:solidFill>
                      <a:schemeClr val="bg2"/>
                    </a:solidFill>
                    <a:latin typeface="Segoe UI" pitchFamily="34" charset="0"/>
                  </a:endParaRPr>
                </a:p>
              </p:txBody>
            </p:sp>
            <p:pic>
              <p:nvPicPr>
                <p:cNvPr id="69" name="Picture 68"/>
                <p:cNvPicPr>
                  <a:picLocks noChangeAspect="1" noChangeArrowheads="1"/>
                </p:cNvPicPr>
                <p:nvPr/>
              </p:nvPicPr>
              <p:blipFill rotWithShape="1">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r="68617"/>
                <a:stretch/>
              </p:blipFill>
              <p:spPr bwMode="auto">
                <a:xfrm>
                  <a:off x="9707868" y="5466539"/>
                  <a:ext cx="309405" cy="3944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9725325" y="5386951"/>
                <a:ext cx="357943" cy="552244"/>
                <a:chOff x="10261489" y="5386951"/>
                <a:chExt cx="357943" cy="552244"/>
              </a:xfrm>
            </p:grpSpPr>
            <p:sp>
              <p:nvSpPr>
                <p:cNvPr id="66" name="Freeform 107"/>
                <p:cNvSpPr>
                  <a:spLocks noEditPoints="1"/>
                </p:cNvSpPr>
                <p:nvPr/>
              </p:nvSpPr>
              <p:spPr bwMode="auto">
                <a:xfrm rot="5400000">
                  <a:off x="10164339" y="5484101"/>
                  <a:ext cx="552244" cy="357943"/>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5953" tIns="57977" rIns="115953" bIns="57977" numCol="1" anchor="t" anchorCtr="0" compatLnSpc="1">
                  <a:prstTxWarp prst="textNoShape">
                    <a:avLst/>
                  </a:prstTxWarp>
                </a:bodyPr>
                <a:lstStyle/>
                <a:p>
                  <a:pPr defTabSz="913675">
                    <a:defRPr/>
                  </a:pPr>
                  <a:endParaRPr lang="en-US" sz="1798" kern="0" dirty="0">
                    <a:solidFill>
                      <a:schemeClr val="bg2"/>
                    </a:solidFill>
                    <a:latin typeface="Segoe UI" pitchFamily="34" charset="0"/>
                  </a:endParaRPr>
                </a:p>
              </p:txBody>
            </p:sp>
            <p:pic>
              <p:nvPicPr>
                <p:cNvPr id="79" name="Picture 6" descr="http://www.kizel.com/http:/www.kizel.com/wp-content/img/2010/03/Apple-Logo.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356561" y="5552817"/>
                  <a:ext cx="167799" cy="1845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10131476" y="5386952"/>
                <a:ext cx="357943" cy="552244"/>
                <a:chOff x="10693040" y="5386952"/>
                <a:chExt cx="357943" cy="552244"/>
              </a:xfrm>
            </p:grpSpPr>
            <p:pic>
              <p:nvPicPr>
                <p:cNvPr id="52" name="Picture 3" descr="F:\MyPhotos\Logos\Android_B_withBug_060311.png"/>
                <p:cNvPicPr>
                  <a:picLocks noChangeAspect="1" noChangeArrowheads="1"/>
                </p:cNvPicPr>
                <p:nvPr/>
              </p:nvPicPr>
              <p:blipFill rotWithShape="1">
                <a:blip r:embed="rId12" cstate="screen">
                  <a:biLevel thresh="50000"/>
                  <a:extLst>
                    <a:ext uri="{28A0092B-C50C-407E-A947-70E740481C1C}">
                      <a14:useLocalDpi xmlns:a14="http://schemas.microsoft.com/office/drawing/2010/main"/>
                    </a:ext>
                  </a:extLst>
                </a:blip>
                <a:srcRect/>
                <a:stretch/>
              </p:blipFill>
              <p:spPr bwMode="auto">
                <a:xfrm>
                  <a:off x="10792136" y="5564981"/>
                  <a:ext cx="159750" cy="176809"/>
                </a:xfrm>
                <a:prstGeom prst="rect">
                  <a:avLst/>
                </a:prstGeom>
                <a:noFill/>
                <a:extLst>
                  <a:ext uri="{909E8E84-426E-40DD-AFC4-6F175D3DCCD1}">
                    <a14:hiddenFill xmlns:a14="http://schemas.microsoft.com/office/drawing/2010/main">
                      <a:solidFill>
                        <a:srgbClr val="FFFFFF"/>
                      </a:solidFill>
                    </a14:hiddenFill>
                  </a:ext>
                </a:extLst>
              </p:spPr>
            </p:pic>
            <p:sp>
              <p:nvSpPr>
                <p:cNvPr id="53" name="Freeform 107"/>
                <p:cNvSpPr>
                  <a:spLocks noEditPoints="1"/>
                </p:cNvSpPr>
                <p:nvPr/>
              </p:nvSpPr>
              <p:spPr bwMode="auto">
                <a:xfrm rot="5400000">
                  <a:off x="10595890" y="5484102"/>
                  <a:ext cx="552244" cy="357943"/>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5953" tIns="57977" rIns="115953" bIns="57977" numCol="1" anchor="t" anchorCtr="0" compatLnSpc="1">
                  <a:prstTxWarp prst="textNoShape">
                    <a:avLst/>
                  </a:prstTxWarp>
                </a:bodyPr>
                <a:lstStyle/>
                <a:p>
                  <a:pPr defTabSz="913675">
                    <a:defRPr/>
                  </a:pPr>
                  <a:endParaRPr lang="en-US" sz="1798" kern="0" dirty="0">
                    <a:solidFill>
                      <a:schemeClr val="bg2"/>
                    </a:solidFill>
                    <a:latin typeface="Segoe UI" pitchFamily="34" charset="0"/>
                  </a:endParaRPr>
                </a:p>
              </p:txBody>
            </p:sp>
          </p:grpSp>
          <p:grpSp>
            <p:nvGrpSpPr>
              <p:cNvPr id="30" name="Group 29"/>
              <p:cNvGrpSpPr/>
              <p:nvPr/>
            </p:nvGrpSpPr>
            <p:grpSpPr>
              <a:xfrm>
                <a:off x="11178846" y="5553468"/>
                <a:ext cx="170613" cy="360571"/>
                <a:chOff x="11178846" y="5553468"/>
                <a:chExt cx="170613" cy="360571"/>
              </a:xfrm>
            </p:grpSpPr>
            <p:pic>
              <p:nvPicPr>
                <p:cNvPr id="57" name="Picture 3" descr="F:\MyPhotos\Logos\Android_B_withBug_060311.png"/>
                <p:cNvPicPr>
                  <a:picLocks noChangeAspect="1" noChangeArrowheads="1"/>
                </p:cNvPicPr>
                <p:nvPr/>
              </p:nvPicPr>
              <p:blipFill rotWithShape="1">
                <a:blip r:embed="rId12" cstate="screen">
                  <a:biLevel thresh="50000"/>
                  <a:extLst>
                    <a:ext uri="{28A0092B-C50C-407E-A947-70E740481C1C}">
                      <a14:useLocalDpi xmlns:a14="http://schemas.microsoft.com/office/drawing/2010/main"/>
                    </a:ext>
                  </a:extLst>
                </a:blip>
                <a:srcRect/>
                <a:stretch/>
              </p:blipFill>
              <p:spPr bwMode="auto">
                <a:xfrm>
                  <a:off x="11202890" y="5646229"/>
                  <a:ext cx="120023" cy="13283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tretch>
                  <a:fillRect/>
                </a:stretch>
              </p:blipFill>
              <p:spPr>
                <a:xfrm>
                  <a:off x="11178846" y="5553468"/>
                  <a:ext cx="170613" cy="360571"/>
                </a:xfrm>
                <a:prstGeom prst="rect">
                  <a:avLst/>
                </a:prstGeom>
              </p:spPr>
            </p:pic>
          </p:grpSp>
          <p:grpSp>
            <p:nvGrpSpPr>
              <p:cNvPr id="31" name="Group 30"/>
              <p:cNvGrpSpPr/>
              <p:nvPr/>
            </p:nvGrpSpPr>
            <p:grpSpPr>
              <a:xfrm>
                <a:off x="10908518" y="5535431"/>
                <a:ext cx="179783" cy="379950"/>
                <a:chOff x="10908518" y="5535431"/>
                <a:chExt cx="179783" cy="379950"/>
              </a:xfrm>
            </p:grpSpPr>
            <p:grpSp>
              <p:nvGrpSpPr>
                <p:cNvPr id="27" name="Group 26"/>
                <p:cNvGrpSpPr/>
                <p:nvPr/>
              </p:nvGrpSpPr>
              <p:grpSpPr>
                <a:xfrm>
                  <a:off x="10908518" y="5535431"/>
                  <a:ext cx="179783" cy="379950"/>
                  <a:chOff x="13012681" y="-1062706"/>
                  <a:chExt cx="2684519" cy="5673423"/>
                </a:xfrm>
              </p:grpSpPr>
              <p:pic>
                <p:nvPicPr>
                  <p:cNvPr id="61" name="Picture 60"/>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tretch>
                    <a:fillRect/>
                  </a:stretch>
                </p:blipFill>
                <p:spPr>
                  <a:xfrm>
                    <a:off x="13012681" y="-1062706"/>
                    <a:ext cx="2684519" cy="5673423"/>
                  </a:xfrm>
                  <a:prstGeom prst="rect">
                    <a:avLst/>
                  </a:prstGeom>
                </p:spPr>
              </p:pic>
              <p:sp>
                <p:nvSpPr>
                  <p:cNvPr id="14" name="Rectangle 13"/>
                  <p:cNvSpPr/>
                  <p:nvPr/>
                </p:nvSpPr>
                <p:spPr bwMode="auto">
                  <a:xfrm>
                    <a:off x="13284200" y="3692912"/>
                    <a:ext cx="622300" cy="7060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7" rIns="182733" bIns="146187" numCol="1" spcCol="0" rtlCol="0" fromWordArt="0" anchor="t" anchorCtr="0" forceAA="0" compatLnSpc="1">
                    <a:prstTxWarp prst="textNoShape">
                      <a:avLst/>
                    </a:prstTxWarp>
                    <a:noAutofit/>
                  </a:bodyPr>
                  <a:lstStyle/>
                  <a:p>
                    <a:pPr algn="ctr" defTabSz="931734"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p:cNvSpPr/>
                  <p:nvPr/>
                </p:nvSpPr>
                <p:spPr bwMode="auto">
                  <a:xfrm>
                    <a:off x="14833600" y="3692912"/>
                    <a:ext cx="622300" cy="7060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7" rIns="182733" bIns="146187" numCol="1" spcCol="0" rtlCol="0" fromWordArt="0" anchor="t" anchorCtr="0" forceAA="0" compatLnSpc="1">
                    <a:prstTxWarp prst="textNoShape">
                      <a:avLst/>
                    </a:prstTxWarp>
                    <a:noAutofit/>
                  </a:bodyPr>
                  <a:lstStyle/>
                  <a:p>
                    <a:pPr algn="ctr" defTabSz="931734"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p:cNvSpPr/>
                  <p:nvPr/>
                </p:nvSpPr>
                <p:spPr bwMode="auto">
                  <a:xfrm>
                    <a:off x="14160500" y="3873817"/>
                    <a:ext cx="448075" cy="44807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7" rIns="182733" bIns="146187" numCol="1" spcCol="0" rtlCol="0" fromWordArt="0" anchor="t" anchorCtr="0" forceAA="0" compatLnSpc="1">
                    <a:prstTxWarp prst="textNoShape">
                      <a:avLst/>
                    </a:prstTxWarp>
                    <a:noAutofit/>
                  </a:bodyPr>
                  <a:lstStyle/>
                  <a:p>
                    <a:pPr algn="ctr" defTabSz="931734"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70" name="Picture 6" descr="http://www.kizel.com/http:/www.kizel.com/wp-content/img/2010/03/Apple-Logo.png"/>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945017" y="5653385"/>
                  <a:ext cx="114609" cy="1260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p:cNvGrpSpPr/>
              <p:nvPr/>
            </p:nvGrpSpPr>
            <p:grpSpPr>
              <a:xfrm>
                <a:off x="10542520" y="5495239"/>
                <a:ext cx="351824" cy="475998"/>
                <a:chOff x="10540711" y="3570924"/>
                <a:chExt cx="1778289" cy="2405920"/>
              </a:xfrm>
            </p:grpSpPr>
            <p:pic>
              <p:nvPicPr>
                <p:cNvPr id="51" name="Picture 2" descr="\\MAGNUM\Projects\Microsoft\Cloud Power FY12\Design\ICONS_PNG\Devices.png"/>
                <p:cNvPicPr>
                  <a:picLocks noChangeAspect="1" noChangeArrowheads="1"/>
                </p:cNvPicPr>
                <p:nvPr/>
              </p:nvPicPr>
              <p:blipFill>
                <a:blip r:embed="rId17" cstate="print">
                  <a:biLevel thresh="50000"/>
                </a:blip>
                <a:srcRect l="56000" t="50000" r="10000" b="4000"/>
                <a:stretch>
                  <a:fillRect/>
                </a:stretch>
              </p:blipFill>
              <p:spPr bwMode="auto">
                <a:xfrm>
                  <a:off x="10540711" y="3570924"/>
                  <a:ext cx="1778289" cy="2405920"/>
                </a:xfrm>
                <a:prstGeom prst="rect">
                  <a:avLst/>
                </a:prstGeom>
                <a:noFill/>
                <a:ln>
                  <a:noFill/>
                </a:ln>
              </p:spPr>
            </p:pic>
            <p:sp>
              <p:nvSpPr>
                <p:cNvPr id="32" name="Rectangle 31"/>
                <p:cNvSpPr/>
                <p:nvPr/>
              </p:nvSpPr>
              <p:spPr bwMode="auto">
                <a:xfrm>
                  <a:off x="11095506" y="4165052"/>
                  <a:ext cx="664694" cy="123584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3" tIns="146187" rIns="182733" bIns="146187" numCol="1" spcCol="0" rtlCol="0" fromWordArt="0" anchor="t" anchorCtr="0" forceAA="0" compatLnSpc="1">
                  <a:prstTxWarp prst="textNoShape">
                    <a:avLst/>
                  </a:prstTxWarp>
                  <a:noAutofit/>
                </a:bodyPr>
                <a:lstStyle/>
                <a:p>
                  <a:pPr algn="ctr" defTabSz="931734"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pic>
              <p:nvPicPr>
                <p:cNvPr id="71" name="Picture 70"/>
                <p:cNvPicPr>
                  <a:picLocks noChangeAspect="1" noChangeArrowheads="1"/>
                </p:cNvPicPr>
                <p:nvPr/>
              </p:nvPicPr>
              <p:blipFill rotWithShape="1">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r="68617"/>
                <a:stretch/>
              </p:blipFill>
              <p:spPr bwMode="auto">
                <a:xfrm>
                  <a:off x="10946134" y="4129352"/>
                  <a:ext cx="882770" cy="1125452"/>
                </a:xfrm>
                <a:prstGeom prst="rect">
                  <a:avLst/>
                </a:prstGeom>
                <a:noFill/>
                <a:extLst>
                  <a:ext uri="{909E8E84-426E-40DD-AFC4-6F175D3DCCD1}">
                    <a14:hiddenFill xmlns:a14="http://schemas.microsoft.com/office/drawing/2010/main">
                      <a:solidFill>
                        <a:srgbClr val="FFFFFF"/>
                      </a:solidFill>
                    </a14:hiddenFill>
                  </a:ext>
                </a:extLst>
              </p:spPr>
            </p:pic>
          </p:grpSp>
        </p:grpSp>
      </p:grpSp>
      <p:pic>
        <p:nvPicPr>
          <p:cNvPr id="72" name="Picture 2"/>
          <p:cNvPicPr>
            <a:picLocks noChangeAspect="1" noChangeArrowheads="1"/>
          </p:cNvPicPr>
          <p:nvPr/>
        </p:nvPicPr>
        <p:blipFill>
          <a:blip r:embed="rId18" cstate="print">
            <a:biLevel thresh="50000"/>
            <a:extLst>
              <a:ext uri="{28A0092B-C50C-407E-A947-70E740481C1C}">
                <a14:useLocalDpi xmlns:a14="http://schemas.microsoft.com/office/drawing/2010/main" val="0"/>
              </a:ext>
            </a:extLst>
          </a:blip>
          <a:srcRect/>
          <a:stretch>
            <a:fillRect/>
          </a:stretch>
        </p:blipFill>
        <p:spPr bwMode="auto">
          <a:xfrm>
            <a:off x="4457903" y="5488067"/>
            <a:ext cx="2210992" cy="465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72" descr="C:\Users\mflorida.REDMOND\AppData\Local\Microsoft\Windows\Temporary Internet Files\Content.Outlook\CJ3SCPD3\SysCnt12-ConfigMgr_h_rgb_r.png"/>
          <p:cNvPicPr>
            <a:picLocks noChangeAspect="1" noChangeArrowheads="1"/>
          </p:cNvPicPr>
          <p:nvPr/>
        </p:nvPicPr>
        <p:blipFill>
          <a:blip r:embed="rId19" cstate="print">
            <a:biLevel thresh="25000"/>
            <a:extLst>
              <a:ext uri="{BEBA8EAE-BF5A-486C-A8C5-ECC9F3942E4B}">
                <a14:imgProps xmlns:a14="http://schemas.microsoft.com/office/drawing/2010/main">
                  <a14:imgLayer r:embed="rId2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568739" y="3919236"/>
            <a:ext cx="1491455" cy="39683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7589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8"/>
                                        </p:tgtEl>
                                        <p:attrNameLst>
                                          <p:attrName>style.visibility</p:attrName>
                                        </p:attrNameLst>
                                      </p:cBhvr>
                                      <p:to>
                                        <p:strVal val="visible"/>
                                      </p:to>
                                    </p:set>
                                    <p:animEffect transition="in" filter="wipe(left)">
                                      <p:cBhvr>
                                        <p:cTn id="12" dur="500"/>
                                        <p:tgtEl>
                                          <p:spTgt spid="88"/>
                                        </p:tgtEl>
                                      </p:cBhvr>
                                    </p:animEffect>
                                  </p:childTnLst>
                                </p:cTn>
                              </p:par>
                              <p:par>
                                <p:cTn id="13" presetID="22" presetClass="entr" presetSubtype="8" fill="hold" nodeType="withEffect">
                                  <p:stCondLst>
                                    <p:cond delay="0"/>
                                  </p:stCondLst>
                                  <p:childTnLst>
                                    <p:set>
                                      <p:cBhvr>
                                        <p:cTn id="14" dur="1" fill="hold">
                                          <p:stCondLst>
                                            <p:cond delay="0"/>
                                          </p:stCondLst>
                                        </p:cTn>
                                        <p:tgtEl>
                                          <p:spTgt spid="90"/>
                                        </p:tgtEl>
                                        <p:attrNameLst>
                                          <p:attrName>style.visibility</p:attrName>
                                        </p:attrNameLst>
                                      </p:cBhvr>
                                      <p:to>
                                        <p:strVal val="visible"/>
                                      </p:to>
                                    </p:set>
                                    <p:animEffect transition="in" filter="wipe(left)">
                                      <p:cBhvr>
                                        <p:cTn id="15" dur="500"/>
                                        <p:tgtEl>
                                          <p:spTgt spid="90"/>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500"/>
                                        <p:tgtEl>
                                          <p:spTgt spid="37"/>
                                        </p:tgtEl>
                                      </p:cBhvr>
                                    </p:animEffect>
                                  </p:childTnLst>
                                </p:cTn>
                              </p:par>
                              <p:par>
                                <p:cTn id="20" presetID="10" presetClass="entr" presetSubtype="0" fill="hold"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Session Objectives And Takeaways</a:t>
            </a:r>
            <a:endParaRPr lang="en-US" dirty="0"/>
          </a:p>
        </p:txBody>
      </p:sp>
      <p:sp>
        <p:nvSpPr>
          <p:cNvPr id="5" name="Text Placeholder 4"/>
          <p:cNvSpPr>
            <a:spLocks noGrp="1"/>
          </p:cNvSpPr>
          <p:nvPr>
            <p:ph type="body" sz="quarter" idx="10"/>
          </p:nvPr>
        </p:nvSpPr>
        <p:spPr>
          <a:xfrm>
            <a:off x="274638" y="1212850"/>
            <a:ext cx="11887200" cy="6001643"/>
          </a:xfrm>
        </p:spPr>
        <p:txBody>
          <a:bodyPr/>
          <a:lstStyle/>
          <a:p>
            <a:r>
              <a:rPr lang="en-US" dirty="0" smtClean="0"/>
              <a:t>Session Objectives</a:t>
            </a:r>
          </a:p>
          <a:p>
            <a:pPr lvl="1"/>
            <a:endParaRPr lang="en-US" dirty="0" smtClean="0"/>
          </a:p>
          <a:p>
            <a:r>
              <a:rPr lang="en-US" dirty="0" smtClean="0"/>
              <a:t>Discuss continued Hierarchy Simplification in Configuration Manager 2012 R2</a:t>
            </a:r>
          </a:p>
          <a:p>
            <a:r>
              <a:rPr lang="en-US" dirty="0" smtClean="0"/>
              <a:t>Discuss improvements in Content management in </a:t>
            </a:r>
            <a:r>
              <a:rPr lang="en-US" dirty="0"/>
              <a:t>Configuration Manager 2012 R2</a:t>
            </a:r>
            <a:endParaRPr lang="en-US" dirty="0" smtClean="0"/>
          </a:p>
          <a:p>
            <a:r>
              <a:rPr lang="en-US" dirty="0" smtClean="0"/>
              <a:t>Discuss improved reporting system in </a:t>
            </a:r>
            <a:r>
              <a:rPr lang="en-US" dirty="0"/>
              <a:t>Configuration Manager 2012 R2</a:t>
            </a:r>
            <a:endParaRPr lang="en-US" dirty="0" smtClean="0"/>
          </a:p>
          <a:p>
            <a:r>
              <a:rPr lang="en-US" dirty="0" smtClean="0"/>
              <a:t>Discuss improved Infrastructure management in </a:t>
            </a:r>
            <a:r>
              <a:rPr lang="en-US" dirty="0"/>
              <a:t>Configuration Manager 2012 R2</a:t>
            </a:r>
          </a:p>
        </p:txBody>
      </p:sp>
    </p:spTree>
    <p:extLst>
      <p:ext uri="{BB962C8B-B14F-4D97-AF65-F5344CB8AC3E}">
        <p14:creationId xmlns:p14="http://schemas.microsoft.com/office/powerpoint/2010/main" val="159740555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mplifying Hierarchies</a:t>
            </a:r>
            <a:endParaRPr lang="en-US" dirty="0"/>
          </a:p>
        </p:txBody>
      </p:sp>
      <p:sp>
        <p:nvSpPr>
          <p:cNvPr id="3" name="Text Placeholder 2"/>
          <p:cNvSpPr>
            <a:spLocks noGrp="1"/>
          </p:cNvSpPr>
          <p:nvPr>
            <p:ph type="body" sz="quarter" idx="10"/>
          </p:nvPr>
        </p:nvSpPr>
        <p:spPr>
          <a:xfrm>
            <a:off x="5065595" y="1212850"/>
            <a:ext cx="7096244" cy="6907420"/>
          </a:xfrm>
        </p:spPr>
        <p:txBody>
          <a:bodyPr/>
          <a:lstStyle/>
          <a:p>
            <a:r>
              <a:rPr lang="en-US" dirty="0" smtClean="0"/>
              <a:t>Configuration Manager 2012:</a:t>
            </a:r>
          </a:p>
          <a:p>
            <a:pPr marL="457200" indent="-457200">
              <a:buFont typeface="Arial" panose="020B0604020202020204" pitchFamily="34" charset="0"/>
              <a:buChar char="•"/>
            </a:pPr>
            <a:r>
              <a:rPr lang="en-US" dirty="0" smtClean="0"/>
              <a:t>New SQL Global Replication</a:t>
            </a:r>
          </a:p>
          <a:p>
            <a:pPr marL="457200" indent="-457200">
              <a:buFont typeface="Arial" panose="020B0604020202020204" pitchFamily="34" charset="0"/>
              <a:buChar char="•"/>
            </a:pPr>
            <a:r>
              <a:rPr lang="en-US" dirty="0" smtClean="0"/>
              <a:t>New support for multiple domain site roles</a:t>
            </a:r>
          </a:p>
          <a:p>
            <a:pPr marL="457200" indent="-457200">
              <a:buFont typeface="Arial" panose="020B0604020202020204" pitchFamily="34" charset="0"/>
              <a:buChar char="•"/>
            </a:pPr>
            <a:r>
              <a:rPr lang="en-US" dirty="0" smtClean="0"/>
              <a:t>New granular role based security</a:t>
            </a:r>
            <a:endParaRPr lang="en-US" dirty="0"/>
          </a:p>
          <a:p>
            <a:pPr marL="457200" indent="-457200">
              <a:buFont typeface="Arial" panose="020B0604020202020204" pitchFamily="34" charset="0"/>
              <a:buChar char="•"/>
            </a:pPr>
            <a:r>
              <a:rPr lang="en-US" dirty="0" smtClean="0"/>
              <a:t>Doubled per site and hierarchy scale limits</a:t>
            </a:r>
          </a:p>
        </p:txBody>
      </p:sp>
      <p:pic>
        <p:nvPicPr>
          <p:cNvPr id="4" name="Picture 3"/>
          <p:cNvPicPr>
            <a:picLocks noChangeAspect="1"/>
          </p:cNvPicPr>
          <p:nvPr/>
        </p:nvPicPr>
        <p:blipFill>
          <a:blip r:embed="rId3"/>
          <a:stretch>
            <a:fillRect/>
          </a:stretch>
        </p:blipFill>
        <p:spPr>
          <a:xfrm>
            <a:off x="377343" y="1897062"/>
            <a:ext cx="4688251" cy="3754667"/>
          </a:xfrm>
          <a:prstGeom prst="rect">
            <a:avLst/>
          </a:prstGeom>
        </p:spPr>
      </p:pic>
      <p:pic>
        <p:nvPicPr>
          <p:cNvPr id="6" name="Picture 5"/>
          <p:cNvPicPr>
            <a:picLocks noChangeAspect="1"/>
          </p:cNvPicPr>
          <p:nvPr/>
        </p:nvPicPr>
        <p:blipFill>
          <a:blip r:embed="rId4"/>
          <a:stretch>
            <a:fillRect/>
          </a:stretch>
        </p:blipFill>
        <p:spPr>
          <a:xfrm>
            <a:off x="1291743" y="1820862"/>
            <a:ext cx="3239250" cy="2437333"/>
          </a:xfrm>
          <a:prstGeom prst="rect">
            <a:avLst/>
          </a:prstGeom>
        </p:spPr>
      </p:pic>
    </p:spTree>
    <p:extLst>
      <p:ext uri="{BB962C8B-B14F-4D97-AF65-F5344CB8AC3E}">
        <p14:creationId xmlns:p14="http://schemas.microsoft.com/office/powerpoint/2010/main" val="32181122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mplifying Hierarchies</a:t>
            </a:r>
            <a:endParaRPr lang="en-US" dirty="0"/>
          </a:p>
        </p:txBody>
      </p:sp>
      <p:sp>
        <p:nvSpPr>
          <p:cNvPr id="3" name="Text Placeholder 2"/>
          <p:cNvSpPr>
            <a:spLocks noGrp="1"/>
          </p:cNvSpPr>
          <p:nvPr>
            <p:ph type="body" sz="quarter" idx="10"/>
          </p:nvPr>
        </p:nvSpPr>
        <p:spPr>
          <a:xfrm>
            <a:off x="4629150" y="1212850"/>
            <a:ext cx="7532687" cy="5909310"/>
          </a:xfrm>
        </p:spPr>
        <p:txBody>
          <a:bodyPr/>
          <a:lstStyle/>
          <a:p>
            <a:r>
              <a:rPr lang="en-US" dirty="0" smtClean="0"/>
              <a:t>Configuration Manager 2012 SP1:</a:t>
            </a:r>
          </a:p>
          <a:p>
            <a:pPr marL="457200" indent="-457200">
              <a:buFont typeface="Arial" panose="020B0604020202020204" pitchFamily="34" charset="0"/>
              <a:buChar char="•"/>
            </a:pPr>
            <a:r>
              <a:rPr lang="en-US" dirty="0" smtClean="0"/>
              <a:t>Site Expansion</a:t>
            </a:r>
          </a:p>
          <a:p>
            <a:pPr marL="457200" indent="-457200">
              <a:buFont typeface="Arial" panose="020B0604020202020204" pitchFamily="34" charset="0"/>
              <a:buChar char="•"/>
            </a:pPr>
            <a:r>
              <a:rPr lang="en-US" dirty="0" smtClean="0"/>
              <a:t>Migration from Configuration Manager 2012 SP1</a:t>
            </a:r>
          </a:p>
          <a:p>
            <a:pPr marL="457200" indent="-457200">
              <a:buFont typeface="Arial" panose="020B0604020202020204" pitchFamily="34" charset="0"/>
              <a:buChar char="•"/>
            </a:pPr>
            <a:r>
              <a:rPr lang="en-US" dirty="0" smtClean="0"/>
              <a:t>Multiple Software Update Points</a:t>
            </a:r>
          </a:p>
          <a:p>
            <a:r>
              <a:rPr lang="en-US" dirty="0" smtClean="0"/>
              <a:t>Configuration Manager 2012 R2:</a:t>
            </a:r>
          </a:p>
          <a:p>
            <a:pPr marL="457200" indent="-457200">
              <a:buFont typeface="Arial" panose="020B0604020202020204" pitchFamily="34" charset="0"/>
              <a:buChar char="•"/>
            </a:pPr>
            <a:r>
              <a:rPr lang="en-US" dirty="0" smtClean="0"/>
              <a:t>Multiple Network Access Accounts</a:t>
            </a:r>
          </a:p>
          <a:p>
            <a:pPr marL="457200" indent="-457200">
              <a:buFont typeface="Arial" panose="020B0604020202020204" pitchFamily="34" charset="0"/>
              <a:buChar char="•"/>
            </a:pPr>
            <a:r>
              <a:rPr lang="en-US" dirty="0" smtClean="0"/>
              <a:t>Reports - Role based security</a:t>
            </a:r>
          </a:p>
        </p:txBody>
      </p:sp>
      <p:pic>
        <p:nvPicPr>
          <p:cNvPr id="6" name="Picture 5"/>
          <p:cNvPicPr>
            <a:picLocks noChangeAspect="1"/>
          </p:cNvPicPr>
          <p:nvPr/>
        </p:nvPicPr>
        <p:blipFill>
          <a:blip r:embed="rId3"/>
          <a:stretch>
            <a:fillRect/>
          </a:stretch>
        </p:blipFill>
        <p:spPr>
          <a:xfrm>
            <a:off x="548380" y="1820862"/>
            <a:ext cx="3239250" cy="2437333"/>
          </a:xfrm>
          <a:prstGeom prst="rect">
            <a:avLst/>
          </a:prstGeom>
        </p:spPr>
      </p:pic>
      <p:pic>
        <p:nvPicPr>
          <p:cNvPr id="5" name="Picture 4"/>
          <p:cNvPicPr>
            <a:picLocks noChangeAspect="1"/>
          </p:cNvPicPr>
          <p:nvPr/>
        </p:nvPicPr>
        <p:blipFill>
          <a:blip r:embed="rId4"/>
          <a:stretch>
            <a:fillRect/>
          </a:stretch>
        </p:blipFill>
        <p:spPr>
          <a:xfrm>
            <a:off x="689847" y="1820862"/>
            <a:ext cx="2357250" cy="1493333"/>
          </a:xfrm>
          <a:prstGeom prst="rect">
            <a:avLst/>
          </a:prstGeom>
        </p:spPr>
      </p:pic>
    </p:spTree>
    <p:extLst>
      <p:ext uri="{BB962C8B-B14F-4D97-AF65-F5344CB8AC3E}">
        <p14:creationId xmlns:p14="http://schemas.microsoft.com/office/powerpoint/2010/main" val="2663953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te Expansion</a:t>
            </a:r>
            <a:endParaRPr lang="en-US" dirty="0"/>
          </a:p>
        </p:txBody>
      </p:sp>
      <p:sp>
        <p:nvSpPr>
          <p:cNvPr id="3" name="Content Placeholder 2"/>
          <p:cNvSpPr>
            <a:spLocks noGrp="1"/>
          </p:cNvSpPr>
          <p:nvPr>
            <p:ph type="body" sz="quarter" idx="10"/>
          </p:nvPr>
        </p:nvSpPr>
        <p:spPr/>
        <p:txBody>
          <a:bodyPr/>
          <a:lstStyle/>
          <a:p>
            <a:r>
              <a:rPr lang="en-US" smtClean="0"/>
              <a:t>Grow your hierarchy with your organization</a:t>
            </a:r>
          </a:p>
          <a:p>
            <a:r>
              <a:rPr lang="en-US" smtClean="0"/>
              <a:t>Freedom to use a standalone primary as long as you need</a:t>
            </a:r>
            <a:endParaRPr lang="en-US" dirty="0"/>
          </a:p>
        </p:txBody>
      </p:sp>
      <p:grpSp>
        <p:nvGrpSpPr>
          <p:cNvPr id="4" name="Group 3"/>
          <p:cNvGrpSpPr/>
          <p:nvPr/>
        </p:nvGrpSpPr>
        <p:grpSpPr>
          <a:xfrm>
            <a:off x="2732490" y="4559571"/>
            <a:ext cx="2465958" cy="933885"/>
            <a:chOff x="8913812" y="5410200"/>
            <a:chExt cx="2417825" cy="915657"/>
          </a:xfrm>
        </p:grpSpPr>
        <p:pic>
          <p:nvPicPr>
            <p:cNvPr id="5" name="Picture 4"/>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32960"/>
            <a:stretch/>
          </p:blipFill>
          <p:spPr bwMode="auto">
            <a:xfrm>
              <a:off x="8913812" y="5410200"/>
              <a:ext cx="674312" cy="915657"/>
            </a:xfrm>
            <a:prstGeom prst="rect">
              <a:avLst/>
            </a:prstGeom>
            <a:noFill/>
            <a:ln>
              <a:noFill/>
            </a:ln>
          </p:spPr>
        </p:pic>
        <p:sp>
          <p:nvSpPr>
            <p:cNvPr id="6" name="TextBox 5"/>
            <p:cNvSpPr txBox="1"/>
            <p:nvPr/>
          </p:nvSpPr>
          <p:spPr>
            <a:xfrm>
              <a:off x="9675812" y="5683362"/>
              <a:ext cx="1655825" cy="374846"/>
            </a:xfrm>
            <a:prstGeom prst="rect">
              <a:avLst/>
            </a:prstGeom>
            <a:noFill/>
          </p:spPr>
          <p:txBody>
            <a:bodyPr wrap="square" rtlCol="0">
              <a:spAutoFit/>
            </a:bodyPr>
            <a:lstStyle/>
            <a:p>
              <a:r>
                <a:rPr lang="en-US" sz="1836" dirty="0">
                  <a:solidFill>
                    <a:srgbClr val="FFFFFF"/>
                  </a:solidFill>
                </a:rPr>
                <a:t>Primary Site</a:t>
              </a:r>
            </a:p>
          </p:txBody>
        </p:sp>
      </p:grpSp>
      <p:grpSp>
        <p:nvGrpSpPr>
          <p:cNvPr id="7" name="Group 6"/>
          <p:cNvGrpSpPr/>
          <p:nvPr/>
        </p:nvGrpSpPr>
        <p:grpSpPr>
          <a:xfrm>
            <a:off x="4385531" y="2849798"/>
            <a:ext cx="2465958" cy="933885"/>
            <a:chOff x="3371787" y="1446543"/>
            <a:chExt cx="2417825" cy="915657"/>
          </a:xfrm>
        </p:grpSpPr>
        <p:pic>
          <p:nvPicPr>
            <p:cNvPr id="8" name="Picture 7"/>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32960"/>
            <a:stretch/>
          </p:blipFill>
          <p:spPr bwMode="auto">
            <a:xfrm>
              <a:off x="3371787" y="1446543"/>
              <a:ext cx="674312" cy="915657"/>
            </a:xfrm>
            <a:prstGeom prst="rect">
              <a:avLst/>
            </a:prstGeom>
            <a:noFill/>
            <a:ln>
              <a:noFill/>
            </a:ln>
          </p:spPr>
        </p:pic>
        <p:sp>
          <p:nvSpPr>
            <p:cNvPr id="9" name="TextBox 8"/>
            <p:cNvSpPr txBox="1"/>
            <p:nvPr/>
          </p:nvSpPr>
          <p:spPr>
            <a:xfrm>
              <a:off x="4133787" y="1719705"/>
              <a:ext cx="1655825" cy="374846"/>
            </a:xfrm>
            <a:prstGeom prst="rect">
              <a:avLst/>
            </a:prstGeom>
            <a:noFill/>
          </p:spPr>
          <p:txBody>
            <a:bodyPr wrap="square" rtlCol="0">
              <a:spAutoFit/>
            </a:bodyPr>
            <a:lstStyle/>
            <a:p>
              <a:r>
                <a:rPr lang="en-US" sz="1836" dirty="0">
                  <a:solidFill>
                    <a:srgbClr val="FFFFFF"/>
                  </a:solidFill>
                </a:rPr>
                <a:t>Primary Site</a:t>
              </a:r>
            </a:p>
          </p:txBody>
        </p:sp>
      </p:grpSp>
      <p:pic>
        <p:nvPicPr>
          <p:cNvPr id="10" name="Picture 9"/>
          <p:cNvPicPr>
            <a:picLocks noChangeAspect="1" noChangeArrowheads="1"/>
          </p:cNvPicPr>
          <p:nvPr/>
        </p:nvPicPr>
        <p:blipFill rotWithShape="1">
          <a:blip r:embed="rId5" cstate="print">
            <a:biLevel thresh="25000"/>
            <a:extLst>
              <a:ext uri="{28A0092B-C50C-407E-A947-70E740481C1C}">
                <a14:useLocalDpi xmlns:a14="http://schemas.microsoft.com/office/drawing/2010/main" val="0"/>
              </a:ext>
            </a:extLst>
          </a:blip>
          <a:stretch/>
        </p:blipFill>
        <p:spPr bwMode="auto">
          <a:xfrm>
            <a:off x="4364546" y="2773362"/>
            <a:ext cx="1128450" cy="1025864"/>
          </a:xfrm>
          <a:prstGeom prst="rect">
            <a:avLst/>
          </a:prstGeom>
          <a:noFill/>
          <a:ln>
            <a:noFill/>
          </a:ln>
        </p:spPr>
      </p:pic>
      <p:sp>
        <p:nvSpPr>
          <p:cNvPr id="11" name="TextBox 10"/>
          <p:cNvSpPr txBox="1"/>
          <p:nvPr/>
        </p:nvSpPr>
        <p:spPr>
          <a:xfrm>
            <a:off x="5525251" y="2841972"/>
            <a:ext cx="1988386" cy="958583"/>
          </a:xfrm>
          <a:prstGeom prst="rect">
            <a:avLst/>
          </a:prstGeom>
          <a:noFill/>
        </p:spPr>
        <p:txBody>
          <a:bodyPr wrap="square" rtlCol="0">
            <a:spAutoFit/>
          </a:bodyPr>
          <a:lstStyle/>
          <a:p>
            <a:r>
              <a:rPr lang="en-US" sz="1836" dirty="0">
                <a:solidFill>
                  <a:srgbClr val="FFFFFF"/>
                </a:solidFill>
              </a:rPr>
              <a:t>Central Administration Site</a:t>
            </a:r>
          </a:p>
        </p:txBody>
      </p:sp>
      <p:cxnSp>
        <p:nvCxnSpPr>
          <p:cNvPr id="12" name="Straight Connector 11"/>
          <p:cNvCxnSpPr>
            <a:stCxn id="13" idx="3"/>
          </p:cNvCxnSpPr>
          <p:nvPr/>
        </p:nvCxnSpPr>
        <p:spPr>
          <a:xfrm flipH="1" flipV="1">
            <a:off x="5357189" y="3799228"/>
            <a:ext cx="872563" cy="634421"/>
          </a:xfrm>
          <a:prstGeom prst="line">
            <a:avLst/>
          </a:prstGeom>
          <a:noFill/>
          <a:ln w="38100" cap="rnd" cmpd="sng" algn="ctr">
            <a:solidFill>
              <a:schemeClr val="accent3"/>
            </a:solidFill>
            <a:prstDash val="sysDot"/>
            <a:headEnd type="none"/>
            <a:tailEnd type="triangle" w="med" len="med"/>
          </a:ln>
          <a:effectLst/>
        </p:spPr>
      </p:cxnSp>
      <p:sp>
        <p:nvSpPr>
          <p:cNvPr id="13" name="TextBox 12"/>
          <p:cNvSpPr txBox="1"/>
          <p:nvPr/>
        </p:nvSpPr>
        <p:spPr>
          <a:xfrm>
            <a:off x="3706232" y="4224216"/>
            <a:ext cx="2523521" cy="418866"/>
          </a:xfrm>
          <a:prstGeom prst="rect">
            <a:avLst/>
          </a:prstGeom>
          <a:noFill/>
        </p:spPr>
        <p:txBody>
          <a:bodyPr wrap="square" lIns="93260" tIns="93260" rIns="93260" bIns="93260" rtlCol="0">
            <a:spAutoFit/>
          </a:bodyPr>
          <a:lstStyle/>
          <a:p>
            <a:pPr>
              <a:lnSpc>
                <a:spcPct val="90000"/>
              </a:lnSpc>
              <a:spcBef>
                <a:spcPct val="20000"/>
              </a:spcBef>
              <a:buSzPct val="90000"/>
            </a:pPr>
            <a:r>
              <a:rPr lang="en-US" sz="1632" dirty="0">
                <a:solidFill>
                  <a:srgbClr val="ED5326">
                    <a:alpha val="99000"/>
                  </a:srgbClr>
                </a:solidFill>
              </a:rPr>
              <a:t>Global Data initialized</a:t>
            </a:r>
          </a:p>
        </p:txBody>
      </p:sp>
      <p:cxnSp>
        <p:nvCxnSpPr>
          <p:cNvPr id="14" name="Straight Connector 13"/>
          <p:cNvCxnSpPr/>
          <p:nvPr/>
        </p:nvCxnSpPr>
        <p:spPr>
          <a:xfrm flipH="1">
            <a:off x="3276509" y="3781960"/>
            <a:ext cx="859445" cy="649433"/>
          </a:xfrm>
          <a:prstGeom prst="line">
            <a:avLst/>
          </a:prstGeom>
          <a:noFill/>
          <a:ln w="38100" cap="rnd" cmpd="sng" algn="ctr">
            <a:solidFill>
              <a:schemeClr val="accent3"/>
            </a:solidFill>
            <a:prstDash val="sysDot"/>
            <a:headEnd type="none"/>
            <a:tailEnd type="triangle" w="med" len="med"/>
          </a:ln>
          <a:effectLst/>
        </p:spPr>
      </p:cxnSp>
    </p:spTree>
    <p:extLst>
      <p:ext uri="{BB962C8B-B14F-4D97-AF65-F5344CB8AC3E}">
        <p14:creationId xmlns:p14="http://schemas.microsoft.com/office/powerpoint/2010/main" val="17186709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0" presetClass="path" presetSubtype="0" accel="50000" decel="50000" fill="hold" nodeType="clickEffect">
                                  <p:stCondLst>
                                    <p:cond delay="0"/>
                                  </p:stCondLst>
                                  <p:childTnLst>
                                    <p:animMotion origin="layout" path="M 1.21266E-6 3.80844E-6 L 0.07455 3.80844E-6 C 0.10799 3.80844E-6 0.14935 0.0674 0.14935 0.12233 L 0.14935 0.24466 " pathEditMode="relative" rAng="0" ptsTypes="AAAA">
                                      <p:cBhvr>
                                        <p:cTn id="6" dur="2000" fill="hold"/>
                                        <p:tgtEl>
                                          <p:spTgt spid="7"/>
                                        </p:tgtEl>
                                        <p:attrNameLst>
                                          <p:attrName>ppt_x</p:attrName>
                                          <p:attrName>ppt_y</p:attrName>
                                        </p:attrNameLst>
                                      </p:cBhvr>
                                      <p:rCtr x="7467" y="12233"/>
                                    </p:animMotion>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b4gBNv2bEWdWkfSq5y6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lu5x.hS0U248zRZfH1Y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pSjcOQ.8EunMs0CPz5G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8eNVf_DXke_eYFlnv6g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aabud4v_0mv9C3atLtQ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R5uBaEd8EmoMGk_aqeDgg"/>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3.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Europe_2013_Speaker_PPT_Template.potx" id="{AF8D925A-DB13-4D66-BFED-96786326D843}" vid="{785F7DAE-011A-4F0A-BDEB-E162962B4AB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5B0E7E46444004D9D85B2EDB9215618" ma:contentTypeVersion="0" ma:contentTypeDescription="Create a new document." ma:contentTypeScope="" ma:versionID="3b260da1e13990388490d0ad0c7102ae">
  <xsd:schema xmlns:xsd="http://www.w3.org/2001/XMLSchema" xmlns:xs="http://www.w3.org/2001/XMLSchema" xmlns:p="http://schemas.microsoft.com/office/2006/metadata/properties" targetNamespace="http://schemas.microsoft.com/office/2006/metadata/properties" ma:root="true" ma:fieldsID="aa1222beb234debe96d12a98d24ff8a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812B4CE1-52B0-478C-A451-0D5CD1B935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34</TotalTime>
  <Words>4432</Words>
  <Application>Microsoft Office PowerPoint</Application>
  <PresentationFormat>Custom</PresentationFormat>
  <Paragraphs>432</Paragraphs>
  <Slides>41</Slides>
  <Notes>38</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41</vt:i4>
      </vt:variant>
    </vt:vector>
  </HeadingPairs>
  <TitlesOfParts>
    <vt:vector size="55" baseType="lpstr">
      <vt:lpstr>Segoe Semibold</vt:lpstr>
      <vt:lpstr>Segoe</vt:lpstr>
      <vt:lpstr>Consolas</vt:lpstr>
      <vt:lpstr>Calibri</vt:lpstr>
      <vt:lpstr>Wingdings</vt:lpstr>
      <vt:lpstr>Arial</vt:lpstr>
      <vt:lpstr>Segoe Light</vt:lpstr>
      <vt:lpstr>Times New Roman</vt:lpstr>
      <vt:lpstr>Segoe UI Light</vt:lpstr>
      <vt:lpstr>Segoe UI</vt:lpstr>
      <vt:lpstr>TechEd_2013_Template_r09</vt:lpstr>
      <vt:lpstr>TechEd_2013_Template_16x9</vt:lpstr>
      <vt:lpstr>1_TechEd_2013_Template_16x9</vt:lpstr>
      <vt:lpstr>think-cell Slide</vt:lpstr>
      <vt:lpstr>PowerPoint Presentation</vt:lpstr>
      <vt:lpstr>What's New in Infrastructure: Microsoft System Center 2012 SP1 - Configuration Manager Infrastructure Improvements and Hierarchy Design</vt:lpstr>
      <vt:lpstr>Today’s Challenges</vt:lpstr>
      <vt:lpstr>People-centric IT</vt:lpstr>
      <vt:lpstr>Simplifying Management Across Platforms</vt:lpstr>
      <vt:lpstr>Session Objectives And Takeaways</vt:lpstr>
      <vt:lpstr>Simplifying Hierarchies</vt:lpstr>
      <vt:lpstr>Simplifying Hierarchies</vt:lpstr>
      <vt:lpstr>Site Expansion</vt:lpstr>
      <vt:lpstr>Site Expansion</vt:lpstr>
      <vt:lpstr>Site Attach vs. Site Expansion</vt:lpstr>
      <vt:lpstr>Migration Between 2012 SP1 Hierarchies</vt:lpstr>
      <vt:lpstr>SQL Server Flexibility In Setup</vt:lpstr>
      <vt:lpstr>Expansion and Migration</vt:lpstr>
      <vt:lpstr>Easy Client Mobility</vt:lpstr>
      <vt:lpstr>Multiple Network Access Accounts</vt:lpstr>
      <vt:lpstr>Upgrade Overview</vt:lpstr>
      <vt:lpstr>Service Pack 1 Interoperability Mode</vt:lpstr>
      <vt:lpstr>Replication Configuration Improvements</vt:lpstr>
      <vt:lpstr>Distributed Views</vt:lpstr>
      <vt:lpstr>Schedule Site Data</vt:lpstr>
      <vt:lpstr>Link Status</vt:lpstr>
      <vt:lpstr>Replication Improvements </vt:lpstr>
      <vt:lpstr>Pull Distribution Point </vt:lpstr>
      <vt:lpstr>Pull DP Hub And Spoke Model Example </vt:lpstr>
      <vt:lpstr>Cloud Distribution Point</vt:lpstr>
      <vt:lpstr>Improved Content Management</vt:lpstr>
      <vt:lpstr>Distribution Point Usage Report</vt:lpstr>
      <vt:lpstr>Replication Traffic Reports</vt:lpstr>
      <vt:lpstr>Replication Traffic Reports</vt:lpstr>
      <vt:lpstr>Replication Traffic Reports</vt:lpstr>
      <vt:lpstr>Role-Based Administration For Reporting</vt:lpstr>
      <vt:lpstr>Role-Based Administration for Reporting</vt:lpstr>
      <vt:lpstr>Secondary Site Recovery</vt:lpstr>
      <vt:lpstr>Secondary Site Recovery</vt:lpstr>
      <vt:lpstr>In Review: Session Objectives / Takeaways</vt:lpstr>
      <vt:lpstr>Related content</vt:lpstr>
      <vt:lpstr>Windows Track Resources</vt:lpstr>
      <vt:lpstr>Resources</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CA-B348: What's New in Infrastructure: Microsoft System Center 2012 SP1 - Configuration Manager Infrastructure Improvements and Hierarchy Design</dc:title>
  <dc:subject>TechEd 2013</dc:subject>
  <dc:creator>Wally Mead</dc:creator>
  <cp:keywords>TechEd 2013</cp:keywords>
  <dc:description>Template by: Jordan Cayabyab, Artitudes Design, Inc.
Formatting by: Priscila Mandryk, Silver Fox Productions, Inc. 
Audience Type: Internal/External</dc:description>
  <cp:lastModifiedBy>Shows</cp:lastModifiedBy>
  <cp:revision>27</cp:revision>
  <dcterms:created xsi:type="dcterms:W3CDTF">2013-04-23T17:53:56Z</dcterms:created>
  <dcterms:modified xsi:type="dcterms:W3CDTF">2013-06-23T12:5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B0E7E46444004D9D85B2EDB9215618</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